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2" r:id="rId3"/>
  </p:sldMasterIdLst>
  <p:notesMasterIdLst>
    <p:notesMasterId r:id="rId15"/>
  </p:notesMasterIdLst>
  <p:sldIdLst>
    <p:sldId id="260" r:id="rId4"/>
    <p:sldId id="262" r:id="rId5"/>
    <p:sldId id="309" r:id="rId6"/>
    <p:sldId id="305" r:id="rId7"/>
    <p:sldId id="310" r:id="rId8"/>
    <p:sldId id="311" r:id="rId9"/>
    <p:sldId id="289" r:id="rId10"/>
    <p:sldId id="290" r:id="rId11"/>
    <p:sldId id="291" r:id="rId12"/>
    <p:sldId id="312" r:id="rId13"/>
    <p:sldId id="293" r:id="rId14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0000"/>
    <a:srgbClr val="E60000"/>
    <a:srgbClr val="FF99FF"/>
    <a:srgbClr val="CC99FF"/>
    <a:srgbClr val="C00000"/>
    <a:srgbClr val="FF5757"/>
    <a:srgbClr val="FF3737"/>
    <a:srgbClr val="EDF58B"/>
    <a:srgbClr val="DBE6C4"/>
    <a:srgbClr val="FF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00" d="100"/>
          <a:sy n="100" d="100"/>
        </p:scale>
        <p:origin x="-516" y="79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5">
  <dgm:title val=""/>
  <dgm:desc val=""/>
  <dgm:catLst>
    <dgm:cat type="accent3" pri="11500"/>
  </dgm:catLst>
  <dgm:styleLbl name="node0">
    <dgm:fillClrLst meth="cycle"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alpha val="9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alpha val="90000"/>
      </a:schemeClr>
      <a:schemeClr val="accent3">
        <a:alpha val="5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/>
    <dgm:txEffectClrLst/>
  </dgm:styleLbl>
  <dgm:styleLbl name="lnNode1">
    <dgm:fillClrLst>
      <a:schemeClr val="accent3">
        <a:shade val="90000"/>
      </a:schemeClr>
      <a:schemeClr val="accent3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  <a:alpha val="90000"/>
      </a:schemeClr>
      <a:schemeClr val="accent3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alpha val="90000"/>
        <a:tint val="40000"/>
      </a:schemeClr>
      <a:schemeClr val="accent3">
        <a:alpha val="5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910AFE8-F8C6-4CA2-8717-10C0C4F9D54E}" type="doc">
      <dgm:prSet loTypeId="urn:microsoft.com/office/officeart/2005/8/layout/pyramid1" loCatId="pyramid" qsTypeId="urn:microsoft.com/office/officeart/2005/8/quickstyle/simple5" qsCatId="simple" csTypeId="urn:microsoft.com/office/officeart/2005/8/colors/accent3_5" csCatId="accent3" phldr="1"/>
      <dgm:spPr/>
      <dgm:t>
        <a:bodyPr/>
        <a:lstStyle/>
        <a:p>
          <a:endParaRPr lang="ru-RU"/>
        </a:p>
      </dgm:t>
    </dgm:pt>
    <dgm:pt modelId="{BE6152E8-A7B0-429C-AE48-E84F07208D3F}">
      <dgm:prSet phldrT="[Текст]" custT="1"/>
      <dgm:spPr/>
      <dgm:t>
        <a:bodyPr/>
        <a:lstStyle/>
        <a:p>
          <a:r>
            <a:rPr lang="ru-RU" sz="1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Федеральный </a:t>
          </a:r>
        </a:p>
        <a:p>
          <a:r>
            <a:rPr lang="ru-RU" sz="1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уровень</a:t>
          </a:r>
          <a:endParaRPr lang="ru-RU" sz="1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4E3CBA1-1494-454E-AC03-F3B20D0AA316}" type="parTrans" cxnId="{7EF86B42-C5C2-48A5-AD31-955E80C6D686}">
      <dgm:prSet/>
      <dgm:spPr/>
      <dgm:t>
        <a:bodyPr/>
        <a:lstStyle/>
        <a:p>
          <a:endParaRPr lang="ru-RU"/>
        </a:p>
      </dgm:t>
    </dgm:pt>
    <dgm:pt modelId="{60727CA4-0E21-4AD4-B171-539238CAA785}" type="sibTrans" cxnId="{7EF86B42-C5C2-48A5-AD31-955E80C6D686}">
      <dgm:prSet/>
      <dgm:spPr/>
      <dgm:t>
        <a:bodyPr/>
        <a:lstStyle/>
        <a:p>
          <a:endParaRPr lang="ru-RU"/>
        </a:p>
      </dgm:t>
    </dgm:pt>
    <dgm:pt modelId="{2BCEAB64-79E1-4190-90C6-94A8105E1D4B}">
      <dgm:prSet phldrT="[Текст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Региональный уровень</a:t>
          </a:r>
          <a:endParaRPr lang="ru-RU" sz="1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363E265-816B-49DD-95F3-BA03AB168331}" type="parTrans" cxnId="{E4BDC416-25AF-46FD-AC12-78F3B2B85050}">
      <dgm:prSet/>
      <dgm:spPr/>
      <dgm:t>
        <a:bodyPr/>
        <a:lstStyle/>
        <a:p>
          <a:endParaRPr lang="ru-RU"/>
        </a:p>
      </dgm:t>
    </dgm:pt>
    <dgm:pt modelId="{32704981-E668-4A0A-87E7-B3E615A0D446}" type="sibTrans" cxnId="{E4BDC416-25AF-46FD-AC12-78F3B2B85050}">
      <dgm:prSet/>
      <dgm:spPr/>
      <dgm:t>
        <a:bodyPr/>
        <a:lstStyle/>
        <a:p>
          <a:endParaRPr lang="ru-RU"/>
        </a:p>
      </dgm:t>
    </dgm:pt>
    <dgm:pt modelId="{3F883D72-AB51-44A3-BB69-C25E95E42149}">
      <dgm:prSet phldrT="[Текст]" custT="1"/>
      <dgm:spPr/>
      <dgm:t>
        <a:bodyPr/>
        <a:lstStyle/>
        <a:p>
          <a:r>
            <a:rPr lang="ru-RU" sz="1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Уровень образовательной организации</a:t>
          </a:r>
          <a:endParaRPr lang="ru-RU" sz="1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28F7FEF-F18C-45C5-A0FD-DCD1786E4B14}" type="parTrans" cxnId="{69E9DBBE-2A88-403E-AF1C-D510FF47D87B}">
      <dgm:prSet/>
      <dgm:spPr/>
      <dgm:t>
        <a:bodyPr/>
        <a:lstStyle/>
        <a:p>
          <a:endParaRPr lang="ru-RU"/>
        </a:p>
      </dgm:t>
    </dgm:pt>
    <dgm:pt modelId="{41BF762B-3A7A-4AA9-AF14-931268079A95}" type="sibTrans" cxnId="{69E9DBBE-2A88-403E-AF1C-D510FF47D87B}">
      <dgm:prSet/>
      <dgm:spPr/>
      <dgm:t>
        <a:bodyPr/>
        <a:lstStyle/>
        <a:p>
          <a:endParaRPr lang="ru-RU"/>
        </a:p>
      </dgm:t>
    </dgm:pt>
    <dgm:pt modelId="{7C3E26E5-8345-4B58-ADD7-8E425EA260AA}" type="pres">
      <dgm:prSet presAssocID="{4910AFE8-F8C6-4CA2-8717-10C0C4F9D54E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4E3F3C2-2FFE-4908-A86D-328E43B3294A}" type="pres">
      <dgm:prSet presAssocID="{BE6152E8-A7B0-429C-AE48-E84F07208D3F}" presName="Name8" presStyleCnt="0"/>
      <dgm:spPr/>
    </dgm:pt>
    <dgm:pt modelId="{41B0729E-585F-4A7E-A894-AA6DFF53CF58}" type="pres">
      <dgm:prSet presAssocID="{BE6152E8-A7B0-429C-AE48-E84F07208D3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E7E8AE7-164D-44BD-BE40-BDE74B4818F7}" type="pres">
      <dgm:prSet presAssocID="{BE6152E8-A7B0-429C-AE48-E84F07208D3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89E913C-2543-4D0F-9CBF-BF9B2CF8E0DA}" type="pres">
      <dgm:prSet presAssocID="{2BCEAB64-79E1-4190-90C6-94A8105E1D4B}" presName="Name8" presStyleCnt="0"/>
      <dgm:spPr/>
    </dgm:pt>
    <dgm:pt modelId="{EBBA0041-A843-441C-87AB-8F637576AE6A}" type="pres">
      <dgm:prSet presAssocID="{2BCEAB64-79E1-4190-90C6-94A8105E1D4B}" presName="level" presStyleLbl="node1" presStyleIdx="1" presStyleCnt="3" custLinFactNeighborX="776" custLinFactNeighborY="-15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B7C2DCE-4CF1-4FE5-90E9-E7B7B569F09C}" type="pres">
      <dgm:prSet presAssocID="{2BCEAB64-79E1-4190-90C6-94A8105E1D4B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7701B75-B313-4FD6-9404-F77707EEE284}" type="pres">
      <dgm:prSet presAssocID="{3F883D72-AB51-44A3-BB69-C25E95E42149}" presName="Name8" presStyleCnt="0"/>
      <dgm:spPr/>
    </dgm:pt>
    <dgm:pt modelId="{CC9EFA65-A778-457A-93C6-B9548DB6D4C8}" type="pres">
      <dgm:prSet presAssocID="{3F883D72-AB51-44A3-BB69-C25E95E42149}" presName="level" presStyleLbl="node1" presStyleIdx="2" presStyleCnt="3" custScaleY="97911" custLinFactNeighborX="3402" custLinFactNeighborY="634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05155B-A724-47C1-A128-C5DF09EE6B97}" type="pres">
      <dgm:prSet presAssocID="{3F883D72-AB51-44A3-BB69-C25E95E42149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9E9DBBE-2A88-403E-AF1C-D510FF47D87B}" srcId="{4910AFE8-F8C6-4CA2-8717-10C0C4F9D54E}" destId="{3F883D72-AB51-44A3-BB69-C25E95E42149}" srcOrd="2" destOrd="0" parTransId="{428F7FEF-F18C-45C5-A0FD-DCD1786E4B14}" sibTransId="{41BF762B-3A7A-4AA9-AF14-931268079A95}"/>
    <dgm:cxn modelId="{E4BDC416-25AF-46FD-AC12-78F3B2B85050}" srcId="{4910AFE8-F8C6-4CA2-8717-10C0C4F9D54E}" destId="{2BCEAB64-79E1-4190-90C6-94A8105E1D4B}" srcOrd="1" destOrd="0" parTransId="{4363E265-816B-49DD-95F3-BA03AB168331}" sibTransId="{32704981-E668-4A0A-87E7-B3E615A0D446}"/>
    <dgm:cxn modelId="{A2791FDB-8461-4AF7-8B31-442A2492CBE1}" type="presOf" srcId="{BE6152E8-A7B0-429C-AE48-E84F07208D3F}" destId="{AE7E8AE7-164D-44BD-BE40-BDE74B4818F7}" srcOrd="1" destOrd="0" presId="urn:microsoft.com/office/officeart/2005/8/layout/pyramid1"/>
    <dgm:cxn modelId="{52996FEA-C09A-45FF-AAD4-EA4C3E545690}" type="presOf" srcId="{2BCEAB64-79E1-4190-90C6-94A8105E1D4B}" destId="{2B7C2DCE-4CF1-4FE5-90E9-E7B7B569F09C}" srcOrd="1" destOrd="0" presId="urn:microsoft.com/office/officeart/2005/8/layout/pyramid1"/>
    <dgm:cxn modelId="{7EF86B42-C5C2-48A5-AD31-955E80C6D686}" srcId="{4910AFE8-F8C6-4CA2-8717-10C0C4F9D54E}" destId="{BE6152E8-A7B0-429C-AE48-E84F07208D3F}" srcOrd="0" destOrd="0" parTransId="{E4E3CBA1-1494-454E-AC03-F3B20D0AA316}" sibTransId="{60727CA4-0E21-4AD4-B171-539238CAA785}"/>
    <dgm:cxn modelId="{380F7D2D-155B-4EF3-A9DD-D831B0AC4510}" type="presOf" srcId="{3F883D72-AB51-44A3-BB69-C25E95E42149}" destId="{CC9EFA65-A778-457A-93C6-B9548DB6D4C8}" srcOrd="0" destOrd="0" presId="urn:microsoft.com/office/officeart/2005/8/layout/pyramid1"/>
    <dgm:cxn modelId="{AEA8BC96-1AA9-4E4C-A3F3-4051DEBEE5D9}" type="presOf" srcId="{4910AFE8-F8C6-4CA2-8717-10C0C4F9D54E}" destId="{7C3E26E5-8345-4B58-ADD7-8E425EA260AA}" srcOrd="0" destOrd="0" presId="urn:microsoft.com/office/officeart/2005/8/layout/pyramid1"/>
    <dgm:cxn modelId="{6DA9FC7B-A5CB-4C5D-8675-5029E4E80DDB}" type="presOf" srcId="{2BCEAB64-79E1-4190-90C6-94A8105E1D4B}" destId="{EBBA0041-A843-441C-87AB-8F637576AE6A}" srcOrd="0" destOrd="0" presId="urn:microsoft.com/office/officeart/2005/8/layout/pyramid1"/>
    <dgm:cxn modelId="{49C36CE4-BA6A-4982-8949-FD3E19A8D27E}" type="presOf" srcId="{3F883D72-AB51-44A3-BB69-C25E95E42149}" destId="{0705155B-A724-47C1-A128-C5DF09EE6B97}" srcOrd="1" destOrd="0" presId="urn:microsoft.com/office/officeart/2005/8/layout/pyramid1"/>
    <dgm:cxn modelId="{929EECDA-4133-4D04-B7D3-B94D44FBD83F}" type="presOf" srcId="{BE6152E8-A7B0-429C-AE48-E84F07208D3F}" destId="{41B0729E-585F-4A7E-A894-AA6DFF53CF58}" srcOrd="0" destOrd="0" presId="urn:microsoft.com/office/officeart/2005/8/layout/pyramid1"/>
    <dgm:cxn modelId="{60BC6264-146B-44E5-A303-10863D88C52C}" type="presParOf" srcId="{7C3E26E5-8345-4B58-ADD7-8E425EA260AA}" destId="{04E3F3C2-2FFE-4908-A86D-328E43B3294A}" srcOrd="0" destOrd="0" presId="urn:microsoft.com/office/officeart/2005/8/layout/pyramid1"/>
    <dgm:cxn modelId="{EBFAA00E-2BB9-4060-93C8-D262A020D3B2}" type="presParOf" srcId="{04E3F3C2-2FFE-4908-A86D-328E43B3294A}" destId="{41B0729E-585F-4A7E-A894-AA6DFF53CF58}" srcOrd="0" destOrd="0" presId="urn:microsoft.com/office/officeart/2005/8/layout/pyramid1"/>
    <dgm:cxn modelId="{90ED7BEC-076E-408F-9289-F0475D9EEB87}" type="presParOf" srcId="{04E3F3C2-2FFE-4908-A86D-328E43B3294A}" destId="{AE7E8AE7-164D-44BD-BE40-BDE74B4818F7}" srcOrd="1" destOrd="0" presId="urn:microsoft.com/office/officeart/2005/8/layout/pyramid1"/>
    <dgm:cxn modelId="{6F43974B-B939-49FD-AC2C-B3298FD88C7C}" type="presParOf" srcId="{7C3E26E5-8345-4B58-ADD7-8E425EA260AA}" destId="{189E913C-2543-4D0F-9CBF-BF9B2CF8E0DA}" srcOrd="1" destOrd="0" presId="urn:microsoft.com/office/officeart/2005/8/layout/pyramid1"/>
    <dgm:cxn modelId="{A44BA36B-3965-4815-A3A5-5E27CC890288}" type="presParOf" srcId="{189E913C-2543-4D0F-9CBF-BF9B2CF8E0DA}" destId="{EBBA0041-A843-441C-87AB-8F637576AE6A}" srcOrd="0" destOrd="0" presId="urn:microsoft.com/office/officeart/2005/8/layout/pyramid1"/>
    <dgm:cxn modelId="{096AA48C-9877-4E7A-8B2C-E3DB4A9C1D78}" type="presParOf" srcId="{189E913C-2543-4D0F-9CBF-BF9B2CF8E0DA}" destId="{2B7C2DCE-4CF1-4FE5-90E9-E7B7B569F09C}" srcOrd="1" destOrd="0" presId="urn:microsoft.com/office/officeart/2005/8/layout/pyramid1"/>
    <dgm:cxn modelId="{4DC45915-5951-404D-8873-EFCCFFBA8116}" type="presParOf" srcId="{7C3E26E5-8345-4B58-ADD7-8E425EA260AA}" destId="{C7701B75-B313-4FD6-9404-F77707EEE284}" srcOrd="2" destOrd="0" presId="urn:microsoft.com/office/officeart/2005/8/layout/pyramid1"/>
    <dgm:cxn modelId="{C05B17E4-C904-481E-A810-6E9ECCBA548F}" type="presParOf" srcId="{C7701B75-B313-4FD6-9404-F77707EEE284}" destId="{CC9EFA65-A778-457A-93C6-B9548DB6D4C8}" srcOrd="0" destOrd="0" presId="urn:microsoft.com/office/officeart/2005/8/layout/pyramid1"/>
    <dgm:cxn modelId="{EC15A7AB-82A9-47EA-96E8-968925C15CB1}" type="presParOf" srcId="{C7701B75-B313-4FD6-9404-F77707EEE284}" destId="{0705155B-A724-47C1-A128-C5DF09EE6B97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B0729E-585F-4A7E-A894-AA6DFF53CF58}">
      <dsp:nvSpPr>
        <dsp:cNvPr id="0" name=""/>
        <dsp:cNvSpPr/>
      </dsp:nvSpPr>
      <dsp:spPr>
        <a:xfrm>
          <a:off x="1769969" y="0"/>
          <a:ext cx="1788652" cy="1581704"/>
        </a:xfrm>
        <a:prstGeom prst="trapezoid">
          <a:avLst>
            <a:gd name="adj" fmla="val 56542"/>
          </a:avLst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Федеральный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уровень</a:t>
          </a:r>
          <a:endParaRPr lang="ru-RU" sz="1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769969" y="0"/>
        <a:ext cx="1788652" cy="1581704"/>
      </dsp:txXfrm>
    </dsp:sp>
    <dsp:sp modelId="{EBBA0041-A843-441C-87AB-8F637576AE6A}">
      <dsp:nvSpPr>
        <dsp:cNvPr id="0" name=""/>
        <dsp:cNvSpPr/>
      </dsp:nvSpPr>
      <dsp:spPr>
        <a:xfrm>
          <a:off x="903403" y="1579205"/>
          <a:ext cx="3577304" cy="1581704"/>
        </a:xfrm>
        <a:prstGeom prst="trapezoid">
          <a:avLst>
            <a:gd name="adj" fmla="val 56542"/>
          </a:avLst>
        </a:prstGeom>
        <a:gradFill rotWithShape="1">
          <a:gsLst>
            <a:gs pos="0">
              <a:schemeClr val="accent3">
                <a:tint val="50000"/>
                <a:satMod val="300000"/>
              </a:schemeClr>
            </a:gs>
            <a:gs pos="35000">
              <a:schemeClr val="accent3">
                <a:tint val="37000"/>
                <a:satMod val="300000"/>
              </a:schemeClr>
            </a:gs>
            <a:gs pos="100000">
              <a:schemeClr val="accent3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Региональный уровень</a:t>
          </a:r>
          <a:endParaRPr lang="ru-RU" sz="1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529431" y="1579205"/>
        <a:ext cx="2325248" cy="1581704"/>
      </dsp:txXfrm>
    </dsp:sp>
    <dsp:sp modelId="{CC9EFA65-A778-457A-93C6-B9548DB6D4C8}">
      <dsp:nvSpPr>
        <dsp:cNvPr id="0" name=""/>
        <dsp:cNvSpPr/>
      </dsp:nvSpPr>
      <dsp:spPr>
        <a:xfrm>
          <a:off x="0" y="3163409"/>
          <a:ext cx="5328591" cy="1548662"/>
        </a:xfrm>
        <a:prstGeom prst="trapezoid">
          <a:avLst>
            <a:gd name="adj" fmla="val 56542"/>
          </a:avLst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-40000"/>
                <a:shade val="51000"/>
                <a:satMod val="130000"/>
              </a:schemeClr>
            </a:gs>
            <a:gs pos="80000">
              <a:schemeClr val="accent3">
                <a:alpha val="90000"/>
                <a:hueOff val="0"/>
                <a:satOff val="0"/>
                <a:lumOff val="0"/>
                <a:alphaOff val="-40000"/>
                <a:shade val="93000"/>
                <a:satMod val="13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-40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Уровень образовательной организации</a:t>
          </a:r>
          <a:endParaRPr lang="ru-RU" sz="1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932503" y="3163409"/>
        <a:ext cx="3463584" cy="154866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25.06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91273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25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25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25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F4C777-D3C6-4822-B72A-90988A8933A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F9241D-BF29-485A-9AB8-EA75CDBF4F0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409789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A128EE-57F0-4DE4-BC1C-B3085FACE2B9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3CBC3-7457-4C0F-B76F-C1DD2B9B562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5855768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13073-F456-46E3-89DB-854FFCF0197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6D6E05-A900-4547-8C8A-643FAC830FE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9482359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E0D52A-A997-47FD-BEDB-8C10B107F0E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1347F4-E132-4FAE-8AAD-ED86175A395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2496228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EECA74-A51D-425E-864E-CAABA89535AD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30FB49-96A2-41DB-AFFB-34A9DBCDC6A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0595186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738C5E-6C76-4029-B783-B51827A7489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Эффективное управление временем и ресурсами.                                                                                            </a:t>
            </a:r>
            <a:fld id="{FABF669B-5C6A-4BDE-A80E-886F47FC787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7922378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628D54-D95F-4517-895D-18EA46E82D0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3232FD-EC13-4C48-B10E-58F41A69AB4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380480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E43621-A1BB-446F-AA30-AA3AA690A1B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96F6B4-AF8F-4764-8979-D2E8975F3AB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0738547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25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BA2D08-CE9F-4A14-9908-8CEAB5AFFDF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CFDAA6-9156-4535-A1AE-2F677960189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52281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68959-66CD-4A9E-9893-E9631BD135E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513876-1426-49AC-8F28-FD2AFE70DE0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76925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9B35C5-1DF9-494C-BEDE-52F41B3AED87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DF4F4-FCAF-4440-B2DE-87DF5EE2D50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311143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F4C777-D3C6-4822-B72A-90988A8933A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F9241D-BF29-485A-9AB8-EA75CDBF4F0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3276157"/>
      </p:ext>
    </p:extLst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A128EE-57F0-4DE4-BC1C-B3085FACE2B9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3CBC3-7457-4C0F-B76F-C1DD2B9B562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1827179"/>
      </p:ext>
    </p:extLst>
  </p:cSld>
  <p:clrMapOvr>
    <a:masterClrMapping/>
  </p:clrMapOvr>
  <p:transition spd="slow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13073-F456-46E3-89DB-854FFCF0197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6D6E05-A900-4547-8C8A-643FAC830FE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2519268"/>
      </p:ext>
    </p:extLst>
  </p:cSld>
  <p:clrMapOvr>
    <a:masterClrMapping/>
  </p:clrMapOvr>
  <p:transition spd="slow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E0D52A-A997-47FD-BEDB-8C10B107F0E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1347F4-E132-4FAE-8AAD-ED86175A395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3289929"/>
      </p:ext>
    </p:extLst>
  </p:cSld>
  <p:clrMapOvr>
    <a:masterClrMapping/>
  </p:clrMapOvr>
  <p:transition spd="slow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EECA74-A51D-425E-864E-CAABA89535AD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30FB49-96A2-41DB-AFFB-34A9DBCDC6A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7754371"/>
      </p:ext>
    </p:extLst>
  </p:cSld>
  <p:clrMapOvr>
    <a:masterClrMapping/>
  </p:clrMapOvr>
  <p:transition spd="slow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738C5E-6C76-4029-B783-B51827A7489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Эффективное управление временем и ресурсами.                                                                                            </a:t>
            </a:r>
            <a:fld id="{FABF669B-5C6A-4BDE-A80E-886F47FC787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0030855"/>
      </p:ext>
    </p:extLst>
  </p:cSld>
  <p:clrMapOvr>
    <a:masterClrMapping/>
  </p:clrMapOvr>
  <p:transition spd="slow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628D54-D95F-4517-895D-18EA46E82D0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3232FD-EC13-4C48-B10E-58F41A69AB4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991023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25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E43621-A1BB-446F-AA30-AA3AA690A1B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96F6B4-AF8F-4764-8979-D2E8975F3AB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301912"/>
      </p:ext>
    </p:extLst>
  </p:cSld>
  <p:clrMapOvr>
    <a:masterClrMapping/>
  </p:clrMapOvr>
  <p:transition spd="slow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BA2D08-CE9F-4A14-9908-8CEAB5AFFDF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CFDAA6-9156-4535-A1AE-2F677960189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5207498"/>
      </p:ext>
    </p:extLst>
  </p:cSld>
  <p:clrMapOvr>
    <a:masterClrMapping/>
  </p:clrMapOvr>
  <p:transition spd="slow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68959-66CD-4A9E-9893-E9631BD135E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513876-1426-49AC-8F28-FD2AFE70DE0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1233662"/>
      </p:ext>
    </p:extLst>
  </p:cSld>
  <p:clrMapOvr>
    <a:masterClrMapping/>
  </p:clrMapOvr>
  <p:transition spd="slow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9B35C5-1DF9-494C-BEDE-52F41B3AED87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DF4F4-FCAF-4440-B2DE-87DF5EE2D50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2699384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25.06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25.06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25.06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25.06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25.06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25.06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25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AA40D63-ECE1-43AE-8334-03407B8F73CC}" type="datetime1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D777224-3DB2-4A33-9F54-1622375D2478}" type="slidenum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6851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AA40D63-ECE1-43AE-8334-03407B8F73CC}" type="datetime1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D777224-3DB2-4A33-9F54-1622375D2478}" type="slidenum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211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9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5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18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9.png"/><Relationship Id="rId11" Type="http://schemas.openxmlformats.org/officeDocument/2006/relationships/image" Target="../media/image24.jpeg"/><Relationship Id="rId5" Type="http://schemas.openxmlformats.org/officeDocument/2006/relationships/image" Target="../media/image11.emf"/><Relationship Id="rId10" Type="http://schemas.openxmlformats.org/officeDocument/2006/relationships/image" Target="../media/image23.jpe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244475" y="404664"/>
            <a:ext cx="8648700" cy="439738"/>
          </a:xfrm>
        </p:spPr>
        <p:txBody>
          <a:bodyPr>
            <a:noAutofit/>
          </a:bodyPr>
          <a:lstStyle/>
          <a:p>
            <a:r>
              <a:rPr lang="ru-RU" sz="2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спорт проекта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ru-RU" sz="16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600" b="1" dirty="0" smtClean="0">
                <a:solidFill>
                  <a:schemeClr val="tx2"/>
                </a:solidFill>
              </a:rPr>
              <a:t>Оптимизация процесса подготовки детей к прогулке в разновозрастной группе»</a:t>
            </a:r>
            <a:br>
              <a:rPr lang="ru-RU" sz="1600" b="1" dirty="0" smtClean="0">
                <a:solidFill>
                  <a:schemeClr val="tx2"/>
                </a:solidFill>
              </a:rPr>
            </a:br>
            <a:endParaRPr lang="ru-RU" sz="1550" dirty="0" smtClean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>
            <a:extLst>
              <a:ext uri="{FF2B5EF4-FFF2-40B4-BE49-F238E27FC236}"/>
            </a:extLst>
          </p:cNvPr>
          <p:cNvSpPr/>
          <p:nvPr/>
        </p:nvSpPr>
        <p:spPr>
          <a:xfrm>
            <a:off x="233363" y="1052736"/>
            <a:ext cx="8636000" cy="168279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rgbClr val="C00000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33363" y="2852359"/>
            <a:ext cx="8636000" cy="151274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" name="TextBox 6">
            <a:extLst>
              <a:ext uri="{FF2B5EF4-FFF2-40B4-BE49-F238E27FC236}"/>
            </a:extLst>
          </p:cNvPr>
          <p:cNvSpPr txBox="1"/>
          <p:nvPr/>
        </p:nvSpPr>
        <p:spPr>
          <a:xfrm>
            <a:off x="279367" y="1076367"/>
            <a:ext cx="1956386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ая </a:t>
            </a:r>
            <a:r>
              <a:rPr lang="ru-RU" sz="1400" b="1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я: </a:t>
            </a:r>
            <a:endParaRPr lang="ru-RU" sz="1400" b="1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>
            <a:extLst>
              <a:ext uri="{FF2B5EF4-FFF2-40B4-BE49-F238E27FC236}"/>
            </a:extLst>
          </p:cNvPr>
          <p:cNvSpPr/>
          <p:nvPr/>
        </p:nvSpPr>
        <p:spPr>
          <a:xfrm>
            <a:off x="226980" y="4437113"/>
            <a:ext cx="8621713" cy="81441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ct val="115000"/>
              </a:lnSpc>
              <a:spcAft>
                <a:spcPts val="0"/>
              </a:spcAft>
            </a:pPr>
            <a:endParaRPr lang="ru-RU" sz="1200" dirty="0" smtClean="0">
              <a:solidFill>
                <a:srgbClr val="002060"/>
              </a:solidFill>
              <a:latin typeface="Times New Roman"/>
              <a:ea typeface="Calibri"/>
              <a:cs typeface="Times New Roman"/>
            </a:endParaRPr>
          </a:p>
          <a:p>
            <a:pPr>
              <a:spcAft>
                <a:spcPts val="0"/>
              </a:spcAft>
            </a:pPr>
            <a:endParaRPr lang="ru-RU" sz="1200" dirty="0" smtClean="0">
              <a:solidFill>
                <a:srgbClr val="002060"/>
              </a:solidFill>
              <a:latin typeface="Times New Roman"/>
              <a:ea typeface="Calibri"/>
              <a:cs typeface="Times New Roman"/>
            </a:endParaRPr>
          </a:p>
          <a:p>
            <a:pPr>
              <a:spcAft>
                <a:spcPts val="0"/>
              </a:spcAft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кращение времени подготовки к прогулке в разновозрастной группе малокомплектного ДОУ посредством визуализации безопасного пространства.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ea typeface="Calibri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260350" y="2942590"/>
            <a:ext cx="2799482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основание выбора процесса:</a:t>
            </a:r>
            <a:endParaRPr lang="ru-RU" sz="14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Box 9">
            <a:extLst>
              <a:ext uri="{FF2B5EF4-FFF2-40B4-BE49-F238E27FC236}"/>
            </a:extLst>
          </p:cNvPr>
          <p:cNvSpPr txBox="1"/>
          <p:nvPr/>
        </p:nvSpPr>
        <p:spPr>
          <a:xfrm>
            <a:off x="298417" y="4581029"/>
            <a:ext cx="1388189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 проекта:</a:t>
            </a:r>
            <a:endParaRPr lang="ru-RU" sz="1400" b="1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2"/>
          <p:cNvSpPr txBox="1">
            <a:spLocks noChangeArrowheads="1"/>
          </p:cNvSpPr>
          <p:nvPr/>
        </p:nvSpPr>
        <p:spPr bwMode="auto">
          <a:xfrm>
            <a:off x="2187029" y="1165876"/>
            <a:ext cx="5121275" cy="1631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именование органа местного  самоуправления: </a:t>
            </a:r>
          </a:p>
          <a:p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е образования администрации </a:t>
            </a:r>
            <a:r>
              <a:rPr lang="ru-RU" sz="110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ковлевского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городского округа.</a:t>
            </a:r>
          </a:p>
          <a:p>
            <a:r>
              <a:rPr 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именование образовательной организации:</a:t>
            </a:r>
          </a:p>
          <a:p>
            <a:pPr lvl="0"/>
            <a:r>
              <a:rPr 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е бюджетное дошкольное образовательное учреждение 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«</a:t>
            </a:r>
            <a:r>
              <a:rPr lang="ru-RU" sz="11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тский сад 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.Сажное </a:t>
            </a:r>
            <a:r>
              <a:rPr lang="ru-RU" sz="11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ковлевского</a:t>
            </a:r>
            <a:r>
              <a:rPr lang="ru-RU" sz="11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городского округа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1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аницы процесса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от сообщения воспитателя о предстоящей прогулке  до выхода на детей улицу</a:t>
            </a:r>
          </a:p>
          <a:p>
            <a:r>
              <a:rPr 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та начала  проекта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04.03.2020 г.</a:t>
            </a:r>
          </a:p>
          <a:p>
            <a:r>
              <a:rPr 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та окончания проекта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26.05.2020 г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3"/>
          <p:cNvSpPr txBox="1">
            <a:spLocks noChangeArrowheads="1"/>
          </p:cNvSpPr>
          <p:nvPr/>
        </p:nvSpPr>
        <p:spPr bwMode="auto">
          <a:xfrm>
            <a:off x="247650" y="3314363"/>
            <a:ext cx="8518525" cy="1046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.Временные потери на подготовку к прогулке.</a:t>
            </a:r>
          </a:p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.Сложности одновременного одевания детей разных возрастов.</a:t>
            </a:r>
          </a:p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.Отсутствие алгоритма подготовки к прогулке.</a:t>
            </a:r>
          </a:p>
          <a:p>
            <a:r>
              <a:rPr lang="ru-RU" sz="1200" dirty="0" smtClean="0"/>
              <a:t> </a:t>
            </a:r>
          </a:p>
          <a:p>
            <a:pPr marL="349250" indent="-349250">
              <a:buFont typeface="Arial" charset="0"/>
              <a:buAutoNum type="arabicPeriod"/>
            </a:pPr>
            <a:endParaRPr lang="ru-RU" sz="1400" dirty="0" smtClean="0">
              <a:solidFill>
                <a:srgbClr val="002060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/>
            </a:extLst>
          </p:cNvPr>
          <p:cNvSpPr/>
          <p:nvPr/>
        </p:nvSpPr>
        <p:spPr>
          <a:xfrm>
            <a:off x="247650" y="5373216"/>
            <a:ext cx="8621713" cy="131553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7" name="TextBox 16">
            <a:extLst>
              <a:ext uri="{FF2B5EF4-FFF2-40B4-BE49-F238E27FC236}"/>
            </a:extLst>
          </p:cNvPr>
          <p:cNvSpPr txBox="1"/>
          <p:nvPr/>
        </p:nvSpPr>
        <p:spPr>
          <a:xfrm>
            <a:off x="384885" y="5514156"/>
            <a:ext cx="1745349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ффекты проекта:</a:t>
            </a:r>
            <a:endParaRPr lang="ru-RU" sz="1400" b="1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63492" y="5857751"/>
            <a:ext cx="861288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.Устранение временных потерь при подготовке к прогулке.</a:t>
            </a:r>
          </a:p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. Добровольное привлечение старших дошкольников в помощь младшим  во время одевания на прогулку.</a:t>
            </a:r>
          </a:p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. Создание алгоритма подготовки к прогулке.</a:t>
            </a:r>
          </a:p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.Обеспечение визуализации безопасного пространства ДОО.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 dirty="0"/>
          </a:p>
        </p:txBody>
      </p:sp>
      <p:pic>
        <p:nvPicPr>
          <p:cNvPr id="19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1560" y="1412776"/>
            <a:ext cx="952265" cy="1156944"/>
          </a:xfrm>
          <a:prstGeom prst="rect">
            <a:avLst/>
          </a:prstGeom>
          <a:noFill/>
          <a:ln w="28575">
            <a:solidFill>
              <a:srgbClr val="C00000"/>
            </a:solidFill>
            <a:miter lim="800000"/>
            <a:headEnd/>
            <a:tailEnd/>
          </a:ln>
        </p:spPr>
      </p:pic>
      <p:pic>
        <p:nvPicPr>
          <p:cNvPr id="1228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96336" y="1196752"/>
            <a:ext cx="1126350" cy="150180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01842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Блок-схема: узел 16"/>
          <p:cNvSpPr/>
          <p:nvPr/>
        </p:nvSpPr>
        <p:spPr>
          <a:xfrm>
            <a:off x="3532188" y="1436688"/>
            <a:ext cx="936625" cy="936625"/>
          </a:xfrm>
          <a:prstGeom prst="flowChartConnector">
            <a:avLst/>
          </a:prstGeom>
          <a:solidFill>
            <a:srgbClr val="FF99FF"/>
          </a:solidFill>
          <a:ln w="127000" cmpd="tri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ru-RU" sz="105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4</a:t>
            </a:r>
          </a:p>
        </p:txBody>
      </p:sp>
      <p:cxnSp>
        <p:nvCxnSpPr>
          <p:cNvPr id="63" name="Прямая соединительная линия 62"/>
          <p:cNvCxnSpPr>
            <a:endCxn id="17" idx="2"/>
          </p:cNvCxnSpPr>
          <p:nvPr/>
        </p:nvCxnSpPr>
        <p:spPr>
          <a:xfrm>
            <a:off x="2222182" y="1905000"/>
            <a:ext cx="1310006" cy="1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/>
          <p:cNvSpPr/>
          <p:nvPr/>
        </p:nvSpPr>
        <p:spPr>
          <a:xfrm>
            <a:off x="93663" y="1522413"/>
            <a:ext cx="2200274" cy="803275"/>
          </a:xfrm>
          <a:prstGeom prst="rect">
            <a:avLst/>
          </a:prstGeom>
          <a:solidFill>
            <a:srgbClr val="FF99FF"/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algn="ctr"/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готовка детей к прогулке в разновозрастной группе</a:t>
            </a:r>
          </a:p>
          <a:p>
            <a:pPr algn="ctr">
              <a:defRPr/>
            </a:pPr>
            <a:endParaRPr lang="ru-RU" sz="1200" b="1" dirty="0" smtClean="0">
              <a:solidFill>
                <a:srgbClr val="46464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март 2020 г.)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4564063" y="1522413"/>
            <a:ext cx="0" cy="5180012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Блок-схема: узел 54"/>
          <p:cNvSpPr/>
          <p:nvPr/>
        </p:nvSpPr>
        <p:spPr>
          <a:xfrm>
            <a:off x="3622675" y="2686050"/>
            <a:ext cx="755650" cy="601663"/>
          </a:xfrm>
          <a:prstGeom prst="flowChartConnector">
            <a:avLst/>
          </a:prstGeom>
          <a:solidFill>
            <a:srgbClr val="FFCCFF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ru-RU" sz="11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lang="ru-RU" sz="11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85725" y="2564904"/>
            <a:ext cx="2208212" cy="722809"/>
          </a:xfrm>
          <a:prstGeom prst="rect">
            <a:avLst/>
          </a:prstGeom>
          <a:solidFill>
            <a:srgbClr val="FFCCFF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algn="ctr"/>
            <a:r>
              <a:rPr lang="ru-RU" sz="1200" b="1" dirty="0" smtClean="0">
                <a:solidFill>
                  <a:srgbClr val="1F497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общение воспитателя о предстоящей прогулке</a:t>
            </a: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мин</a:t>
            </a:r>
            <a:endParaRPr lang="ru-RU" sz="1200" b="1" dirty="0">
              <a:solidFill>
                <a:srgbClr val="46464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57" name="Прямая соединительная линия 56"/>
          <p:cNvCxnSpPr>
            <a:endCxn id="55" idx="2"/>
          </p:cNvCxnSpPr>
          <p:nvPr/>
        </p:nvCxnSpPr>
        <p:spPr>
          <a:xfrm flipV="1">
            <a:off x="2293938" y="2986882"/>
            <a:ext cx="1328737" cy="5556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 flipH="1">
            <a:off x="158750" y="2470150"/>
            <a:ext cx="4373563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Заголовок 1"/>
          <p:cNvSpPr txBox="1">
            <a:spLocks/>
          </p:cNvSpPr>
          <p:nvPr/>
        </p:nvSpPr>
        <p:spPr>
          <a:xfrm>
            <a:off x="114300" y="-73496"/>
            <a:ext cx="9053513" cy="766192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20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 (было и стало) </a:t>
            </a:r>
            <a:endParaRPr lang="ru-RU" sz="2000" b="1" dirty="0" smtClean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4" name="Блок-схема: узел 33"/>
          <p:cNvSpPr/>
          <p:nvPr/>
        </p:nvSpPr>
        <p:spPr>
          <a:xfrm>
            <a:off x="3622675" y="3475437"/>
            <a:ext cx="755650" cy="577726"/>
          </a:xfrm>
          <a:prstGeom prst="flowChartConnector">
            <a:avLst/>
          </a:prstGeom>
          <a:solidFill>
            <a:srgbClr val="FFCCFF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ru-RU" sz="11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endParaRPr lang="en-US" sz="11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93663" y="3429001"/>
            <a:ext cx="2200274" cy="683418"/>
          </a:xfrm>
          <a:prstGeom prst="rect">
            <a:avLst/>
          </a:prstGeom>
          <a:solidFill>
            <a:srgbClr val="FFCCFF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algn="ctr"/>
            <a:r>
              <a:rPr lang="ru-RU" sz="1200" b="1" dirty="0">
                <a:solidFill>
                  <a:srgbClr val="1F497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игиенические процедуры перед выходом на </a:t>
            </a:r>
            <a:r>
              <a:rPr lang="ru-RU" sz="1200" b="1" dirty="0" smtClean="0">
                <a:solidFill>
                  <a:srgbClr val="1F497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гулку</a:t>
            </a: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мин </a:t>
            </a:r>
            <a:endParaRPr lang="ru-RU" sz="1200" b="1" dirty="0">
              <a:solidFill>
                <a:srgbClr val="46464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2293937" y="3764300"/>
            <a:ext cx="1328738" cy="641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Блок-схема: узел 45"/>
          <p:cNvSpPr/>
          <p:nvPr/>
        </p:nvSpPr>
        <p:spPr>
          <a:xfrm>
            <a:off x="8115300" y="1411809"/>
            <a:ext cx="936625" cy="936625"/>
          </a:xfrm>
          <a:prstGeom prst="flowChartConnector">
            <a:avLst/>
          </a:prstGeom>
          <a:solidFill>
            <a:schemeClr val="accent3">
              <a:lumMod val="60000"/>
              <a:lumOff val="40000"/>
            </a:schemeClr>
          </a:solidFill>
          <a:ln w="127000" cmpd="tri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ru-RU" sz="105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7</a:t>
            </a:r>
            <a:endParaRPr lang="ru-RU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7" name="Прямая соединительная линия 46"/>
          <p:cNvCxnSpPr/>
          <p:nvPr/>
        </p:nvCxnSpPr>
        <p:spPr>
          <a:xfrm>
            <a:off x="7011988" y="1905000"/>
            <a:ext cx="1030287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/>
          <p:cNvSpPr/>
          <p:nvPr/>
        </p:nvSpPr>
        <p:spPr>
          <a:xfrm>
            <a:off x="4703763" y="1556792"/>
            <a:ext cx="2389187" cy="91335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algn="ctr"/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готовка детей к прогулке в разновозрастной группе</a:t>
            </a:r>
          </a:p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май 2020 г.)</a:t>
            </a:r>
            <a:endParaRPr lang="ru-RU" sz="1200" b="1" dirty="0">
              <a:solidFill>
                <a:srgbClr val="46464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 flipH="1">
            <a:off x="4664075" y="2470150"/>
            <a:ext cx="4373563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Блок-схема: узел 49"/>
          <p:cNvSpPr/>
          <p:nvPr/>
        </p:nvSpPr>
        <p:spPr>
          <a:xfrm>
            <a:off x="8137525" y="2713037"/>
            <a:ext cx="831850" cy="601663"/>
          </a:xfrm>
          <a:prstGeom prst="flowChartConnector">
            <a:avLst/>
          </a:prstGeom>
          <a:solidFill>
            <a:srgbClr val="DBE6C4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ru-RU" sz="11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4795838" y="2564904"/>
            <a:ext cx="2216150" cy="722809"/>
          </a:xfrm>
          <a:prstGeom prst="rect">
            <a:avLst/>
          </a:prstGeom>
          <a:solidFill>
            <a:srgbClr val="DBE6C4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>
                <a:solidFill>
                  <a:srgbClr val="1F497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общение воспитателя о предстоящей прогулке</a:t>
            </a: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200" b="1" dirty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</a:t>
            </a:r>
          </a:p>
        </p:txBody>
      </p:sp>
      <p:cxnSp>
        <p:nvCxnSpPr>
          <p:cNvPr id="52" name="Прямая соединительная линия 51"/>
          <p:cNvCxnSpPr>
            <a:endCxn id="50" idx="2"/>
          </p:cNvCxnSpPr>
          <p:nvPr/>
        </p:nvCxnSpPr>
        <p:spPr>
          <a:xfrm flipV="1">
            <a:off x="6996385" y="3013869"/>
            <a:ext cx="1141140" cy="1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Блок-схема: узел 52"/>
          <p:cNvSpPr/>
          <p:nvPr/>
        </p:nvSpPr>
        <p:spPr>
          <a:xfrm>
            <a:off x="8175625" y="3467820"/>
            <a:ext cx="793750" cy="613717"/>
          </a:xfrm>
          <a:prstGeom prst="flowChartConnector">
            <a:avLst/>
          </a:prstGeom>
          <a:solidFill>
            <a:schemeClr val="accent3">
              <a:lumMod val="40000"/>
              <a:lumOff val="60000"/>
            </a:schemeClr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4795838" y="3429002"/>
            <a:ext cx="2216150" cy="683418"/>
          </a:xfrm>
          <a:prstGeom prst="rect">
            <a:avLst/>
          </a:prstGeom>
          <a:solidFill>
            <a:srgbClr val="DBE6C4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игиенические процедуры перед выходом на </a:t>
            </a: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гулку, мин</a:t>
            </a:r>
            <a:endParaRPr lang="ru-RU" sz="1200" b="1" dirty="0">
              <a:solidFill>
                <a:srgbClr val="46464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58" name="Прямая соединительная линия 57"/>
          <p:cNvCxnSpPr/>
          <p:nvPr/>
        </p:nvCxnSpPr>
        <p:spPr>
          <a:xfrm>
            <a:off x="7092950" y="3770711"/>
            <a:ext cx="1011237" cy="7937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>
            <a:extLst>
              <a:ext uri="{FF2B5EF4-FFF2-40B4-BE49-F238E27FC236}"/>
            </a:extLst>
          </p:cNvPr>
          <p:cNvSpPr/>
          <p:nvPr/>
        </p:nvSpPr>
        <p:spPr>
          <a:xfrm>
            <a:off x="85724" y="692696"/>
            <a:ext cx="9058275" cy="6164138"/>
          </a:xfrm>
          <a:prstGeom prst="rect">
            <a:avLst/>
          </a:prstGeom>
          <a:noFill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2" name="TextBox 23"/>
          <p:cNvSpPr txBox="1">
            <a:spLocks noChangeArrowheads="1"/>
          </p:cNvSpPr>
          <p:nvPr/>
        </p:nvSpPr>
        <p:spPr bwMode="auto">
          <a:xfrm>
            <a:off x="467544" y="807650"/>
            <a:ext cx="288032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:</a:t>
            </a:r>
            <a:endParaRPr lang="ru-RU" sz="16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TextBox 52"/>
          <p:cNvSpPr txBox="1">
            <a:spLocks noChangeArrowheads="1"/>
          </p:cNvSpPr>
          <p:nvPr/>
        </p:nvSpPr>
        <p:spPr bwMode="auto">
          <a:xfrm>
            <a:off x="4762673" y="807650"/>
            <a:ext cx="323891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:</a:t>
            </a:r>
            <a:endParaRPr lang="ru-RU" sz="1600" b="1" dirty="0">
              <a:solidFill>
                <a:srgbClr val="00B05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114300" y="4291013"/>
            <a:ext cx="2179638" cy="650155"/>
          </a:xfrm>
          <a:prstGeom prst="rect">
            <a:avLst/>
          </a:prstGeom>
          <a:solidFill>
            <a:srgbClr val="FFCCFF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>
                <a:solidFill>
                  <a:srgbClr val="1F497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евание детей  на прогулку</a:t>
            </a: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мин</a:t>
            </a:r>
            <a:endParaRPr lang="ru-RU" sz="1200" b="1" dirty="0">
              <a:solidFill>
                <a:srgbClr val="46464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2" name="Прямая соединительная линия 41"/>
          <p:cNvCxnSpPr/>
          <p:nvPr/>
        </p:nvCxnSpPr>
        <p:spPr>
          <a:xfrm flipV="1">
            <a:off x="2293938" y="4581128"/>
            <a:ext cx="1262857" cy="1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>
            <a:off x="2293938" y="5301208"/>
            <a:ext cx="1328737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Блок-схема: узел 59"/>
          <p:cNvSpPr/>
          <p:nvPr/>
        </p:nvSpPr>
        <p:spPr>
          <a:xfrm>
            <a:off x="3649291" y="5085183"/>
            <a:ext cx="755650" cy="610767"/>
          </a:xfrm>
          <a:prstGeom prst="flowChartConnector">
            <a:avLst/>
          </a:prstGeom>
          <a:solidFill>
            <a:srgbClr val="FFCCFF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ru-RU" sz="11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1" name="Блок-схема: узел 60"/>
          <p:cNvSpPr/>
          <p:nvPr/>
        </p:nvSpPr>
        <p:spPr>
          <a:xfrm>
            <a:off x="3622675" y="4280295"/>
            <a:ext cx="755650" cy="601663"/>
          </a:xfrm>
          <a:prstGeom prst="flowChartConnector">
            <a:avLst/>
          </a:prstGeom>
          <a:solidFill>
            <a:srgbClr val="FFCCFF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ru-RU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4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 rot="10800000" flipV="1">
            <a:off x="4795838" y="4291012"/>
            <a:ext cx="2216150" cy="590945"/>
          </a:xfrm>
          <a:prstGeom prst="rect">
            <a:avLst/>
          </a:prstGeom>
          <a:solidFill>
            <a:srgbClr val="DBE6C4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900" b="1" dirty="0">
                <a:solidFill>
                  <a:srgbClr val="1F497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евание детей  на прогулку</a:t>
            </a: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200" b="1" dirty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</a:t>
            </a:r>
          </a:p>
        </p:txBody>
      </p:sp>
      <p:sp>
        <p:nvSpPr>
          <p:cNvPr id="67" name="Прямоугольник 66"/>
          <p:cNvSpPr/>
          <p:nvPr/>
        </p:nvSpPr>
        <p:spPr>
          <a:xfrm rot="10800000" flipV="1">
            <a:off x="4795838" y="5085181"/>
            <a:ext cx="2216150" cy="610767"/>
          </a:xfrm>
          <a:prstGeom prst="rect">
            <a:avLst/>
          </a:prstGeom>
          <a:solidFill>
            <a:srgbClr val="DBE6C4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ход детей на улицу, мин</a:t>
            </a:r>
            <a:endParaRPr lang="ru-RU" sz="1200" b="1" dirty="0">
              <a:solidFill>
                <a:srgbClr val="46464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71" name="Прямая соединительная линия 70"/>
          <p:cNvCxnSpPr/>
          <p:nvPr/>
        </p:nvCxnSpPr>
        <p:spPr>
          <a:xfrm>
            <a:off x="7104063" y="4571602"/>
            <a:ext cx="1011237" cy="7937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71"/>
          <p:cNvCxnSpPr/>
          <p:nvPr/>
        </p:nvCxnSpPr>
        <p:spPr>
          <a:xfrm>
            <a:off x="7126288" y="5301607"/>
            <a:ext cx="1011237" cy="7937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Блок-схема: узел 78"/>
          <p:cNvSpPr/>
          <p:nvPr/>
        </p:nvSpPr>
        <p:spPr>
          <a:xfrm>
            <a:off x="8175625" y="4994349"/>
            <a:ext cx="793750" cy="613717"/>
          </a:xfrm>
          <a:prstGeom prst="flowChartConnector">
            <a:avLst/>
          </a:prstGeom>
          <a:solidFill>
            <a:schemeClr val="accent3">
              <a:lumMod val="40000"/>
              <a:lumOff val="60000"/>
            </a:schemeClr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</a:p>
        </p:txBody>
      </p:sp>
      <p:sp>
        <p:nvSpPr>
          <p:cNvPr id="80" name="Блок-схема: узел 79"/>
          <p:cNvSpPr/>
          <p:nvPr/>
        </p:nvSpPr>
        <p:spPr>
          <a:xfrm>
            <a:off x="8137525" y="4232907"/>
            <a:ext cx="793750" cy="611659"/>
          </a:xfrm>
          <a:prstGeom prst="flowChartConnector">
            <a:avLst/>
          </a:prstGeom>
          <a:solidFill>
            <a:srgbClr val="DBE6C4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ru-RU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5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4" name="Прямоугольник 83"/>
          <p:cNvSpPr/>
          <p:nvPr/>
        </p:nvSpPr>
        <p:spPr>
          <a:xfrm rot="10800000" flipV="1">
            <a:off x="158748" y="5093568"/>
            <a:ext cx="2135190" cy="711696"/>
          </a:xfrm>
          <a:prstGeom prst="rect">
            <a:avLst/>
          </a:prstGeom>
          <a:solidFill>
            <a:srgbClr val="FFCCFF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ход детей на улицу, мин</a:t>
            </a:r>
            <a:endParaRPr lang="ru-RU" sz="1200" b="1" dirty="0">
              <a:solidFill>
                <a:srgbClr val="46464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9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6319" y="6370134"/>
            <a:ext cx="347662" cy="285750"/>
          </a:xfrm>
        </p:spPr>
        <p:txBody>
          <a:bodyPr/>
          <a:lstStyle/>
          <a:p>
            <a:pPr algn="ctr">
              <a:defRPr/>
            </a:pPr>
            <a:fld id="{F4FBE110-AE23-447E-BC5E-ACA3261C4DB1}" type="slidenum">
              <a:rPr lang="ru-RU">
                <a:solidFill>
                  <a:srgbClr val="4BACC6">
                    <a:lumMod val="50000"/>
                  </a:srgbClr>
                </a:solidFill>
              </a:rPr>
              <a:pPr algn="ctr">
                <a:defRPr/>
              </a:pPr>
              <a:t>10</a:t>
            </a:fld>
            <a:endParaRPr lang="ru-RU" dirty="0">
              <a:solidFill>
                <a:srgbClr val="4BACC6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8072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1187624" y="2348880"/>
            <a:ext cx="1584176" cy="3096344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04" y="188640"/>
            <a:ext cx="8928992" cy="648072"/>
          </a:xfrm>
          <a:effectLst/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ru-RU" sz="3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788024" y="1507031"/>
            <a:ext cx="3888432" cy="5503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b="1" dirty="0" smtClean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ФФЕКТЫ:</a:t>
            </a:r>
            <a:r>
              <a:rPr lang="ru-RU" altLang="ru-RU" b="1" dirty="0">
                <a:solidFill>
                  <a:srgbClr val="FF0000"/>
                </a:solidFill>
                <a:latin typeface="Arial Narrow" panose="020B0606020202030204" pitchFamily="34" charset="0"/>
                <a:cs typeface="Times New Roman" pitchFamily="18" charset="0"/>
              </a:rPr>
              <a:t> </a:t>
            </a:r>
            <a:endParaRPr lang="ru-RU" altLang="ru-RU" b="1" dirty="0" smtClean="0">
              <a:solidFill>
                <a:srgbClr val="FF0000"/>
              </a:solidFill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800" dirty="0" smtClean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800" dirty="0">
              <a:latin typeface="Arial Narrow" panose="020B0606020202030204" pitchFamily="34" charset="0"/>
              <a:cs typeface="Times New Roman" pitchFamily="18" charset="0"/>
            </a:endParaRPr>
          </a:p>
          <a:p>
            <a:pPr algn="ctr"/>
            <a:endParaRPr lang="ru-RU" sz="1400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транение временных потерь при подготовке к прогулке.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4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</a:t>
            </a:r>
            <a:r>
              <a:rPr lang="ru-RU" sz="1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дание алгоритма </a:t>
            </a:r>
          </a:p>
          <a:p>
            <a:pPr algn="ctr"/>
            <a:r>
              <a:rPr lang="ru-RU" sz="1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готовки к прогулке</a:t>
            </a:r>
          </a:p>
          <a:p>
            <a:pPr>
              <a:lnSpc>
                <a:spcPct val="220000"/>
              </a:lnSpc>
            </a:pPr>
            <a:endParaRPr lang="ru-RU" sz="1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/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</a:t>
            </a:r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изуализации безопасного пространства </a:t>
            </a: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О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220000"/>
              </a:lnSpc>
            </a:pPr>
            <a:endParaRPr lang="ru-RU" sz="1400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 smtClean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 smtClean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 smtClean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 smtClean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251520" y="1268760"/>
            <a:ext cx="864096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572000" y="1268760"/>
            <a:ext cx="0" cy="4176464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Стрелка вниз 12"/>
          <p:cNvSpPr/>
          <p:nvPr/>
        </p:nvSpPr>
        <p:spPr>
          <a:xfrm>
            <a:off x="6458897" y="1855922"/>
            <a:ext cx="372725" cy="432048"/>
          </a:xfrm>
          <a:prstGeom prst="downArrow">
            <a:avLst>
              <a:gd name="adj1" fmla="val 50000"/>
              <a:gd name="adj2" fmla="val 47795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14" name="Стрелка вниз 13"/>
          <p:cNvSpPr/>
          <p:nvPr/>
        </p:nvSpPr>
        <p:spPr>
          <a:xfrm>
            <a:off x="6528675" y="2726829"/>
            <a:ext cx="365135" cy="432048"/>
          </a:xfrm>
          <a:prstGeom prst="down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1187624" y="1628801"/>
            <a:ext cx="1584176" cy="2268252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1385442" y="1855922"/>
            <a:ext cx="1368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9%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331640" y="3573016"/>
            <a:ext cx="144016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7 мин.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971600" y="5621178"/>
            <a:ext cx="23762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</a:t>
            </a:r>
            <a:r>
              <a:rPr lang="ru-RU" sz="16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ротекания процесса</a:t>
            </a:r>
            <a:endParaRPr lang="ru-RU" sz="1600" b="1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Стрелка вниз 14"/>
          <p:cNvSpPr/>
          <p:nvPr/>
        </p:nvSpPr>
        <p:spPr>
          <a:xfrm>
            <a:off x="6576764" y="3599681"/>
            <a:ext cx="345097" cy="432048"/>
          </a:xfrm>
          <a:prstGeom prst="downArrow">
            <a:avLst>
              <a:gd name="adj1" fmla="val 50000"/>
              <a:gd name="adj2" fmla="val 47795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002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315913" y="872251"/>
            <a:ext cx="8597230" cy="2136775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2" name="TextBox 31">
            <a:extLst>
              <a:ext uri="{FF2B5EF4-FFF2-40B4-BE49-F238E27FC236}"/>
            </a:extLst>
          </p:cNvPr>
          <p:cNvSpPr txBox="1"/>
          <p:nvPr/>
        </p:nvSpPr>
        <p:spPr>
          <a:xfrm>
            <a:off x="497412" y="875635"/>
            <a:ext cx="2137739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ство проектом</a:t>
            </a:r>
          </a:p>
        </p:txBody>
      </p:sp>
      <p:sp>
        <p:nvSpPr>
          <p:cNvPr id="39" name="TextBox 38">
            <a:extLst>
              <a:ext uri="{FF2B5EF4-FFF2-40B4-BE49-F238E27FC236}"/>
            </a:extLst>
          </p:cNvPr>
          <p:cNvSpPr txBox="1"/>
          <p:nvPr/>
        </p:nvSpPr>
        <p:spPr>
          <a:xfrm>
            <a:off x="3275856" y="3356992"/>
            <a:ext cx="2179674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0020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чая группа проекта</a:t>
            </a:r>
          </a:p>
        </p:txBody>
      </p:sp>
      <p:sp>
        <p:nvSpPr>
          <p:cNvPr id="68616" name="Заголовок 2"/>
          <p:cNvSpPr>
            <a:spLocks noGrp="1"/>
          </p:cNvSpPr>
          <p:nvPr>
            <p:ph type="title"/>
          </p:nvPr>
        </p:nvSpPr>
        <p:spPr>
          <a:xfrm>
            <a:off x="244475" y="332656"/>
            <a:ext cx="8648700" cy="439738"/>
          </a:xfrm>
        </p:spPr>
        <p:txBody>
          <a:bodyPr>
            <a:no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манда проекта </a:t>
            </a:r>
          </a:p>
        </p:txBody>
      </p:sp>
      <p:sp>
        <p:nvSpPr>
          <p:cNvPr id="19" name="Rectangle 53"/>
          <p:cNvSpPr txBox="1">
            <a:spLocks noChangeArrowheads="1"/>
          </p:cNvSpPr>
          <p:nvPr/>
        </p:nvSpPr>
        <p:spPr bwMode="auto">
          <a:xfrm>
            <a:off x="3459237" y="2524144"/>
            <a:ext cx="1206451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err="1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идчер</a:t>
            </a:r>
            <a:r>
              <a:rPr lang="ru-RU" altLang="ru-RU" sz="10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Наталия Олеговна, 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ведующий</a:t>
            </a:r>
            <a:endParaRPr lang="ru-RU" altLang="ru-RU" sz="1000" kern="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Rectangle 165"/>
          <p:cNvSpPr txBox="1">
            <a:spLocks noChangeArrowheads="1"/>
          </p:cNvSpPr>
          <p:nvPr/>
        </p:nvSpPr>
        <p:spPr bwMode="auto">
          <a:xfrm>
            <a:off x="3531791" y="914986"/>
            <a:ext cx="1538288" cy="1692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587" lvl="1" indent="0" algn="ctr">
              <a:buClr>
                <a:srgbClr val="002960"/>
              </a:buClr>
              <a:buSzPct val="125000"/>
              <a:defRPr/>
            </a:pPr>
            <a:r>
              <a:rPr lang="ru-RU" altLang="ru-RU" sz="11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азчик проекта</a:t>
            </a:r>
            <a:endParaRPr lang="en-US" altLang="ru-RU" sz="1100" b="1" kern="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Rectangle 53"/>
          <p:cNvSpPr txBox="1">
            <a:spLocks noChangeArrowheads="1"/>
          </p:cNvSpPr>
          <p:nvPr/>
        </p:nvSpPr>
        <p:spPr bwMode="auto">
          <a:xfrm>
            <a:off x="6485951" y="2455960"/>
            <a:ext cx="1427187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sz="1000" u="sng" dirty="0" smtClean="0"/>
              <a:t> </a:t>
            </a:r>
            <a:r>
              <a:rPr lang="ru-RU" altLang="ru-RU" sz="1000" b="1" kern="0" dirty="0" err="1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ечихина</a:t>
            </a:r>
            <a:r>
              <a:rPr lang="ru-RU" altLang="ru-RU" sz="10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Ирина Александровна, воспитатель</a:t>
            </a:r>
          </a:p>
        </p:txBody>
      </p:sp>
      <p:sp>
        <p:nvSpPr>
          <p:cNvPr id="22" name="Rectangle 165"/>
          <p:cNvSpPr txBox="1">
            <a:spLocks noChangeArrowheads="1"/>
          </p:cNvSpPr>
          <p:nvPr/>
        </p:nvSpPr>
        <p:spPr bwMode="auto">
          <a:xfrm>
            <a:off x="5667712" y="914986"/>
            <a:ext cx="2216656" cy="1692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619125" lvl="4" indent="0">
              <a:buClr>
                <a:srgbClr val="002960"/>
              </a:buClr>
              <a:buSzPct val="89000"/>
              <a:defRPr/>
            </a:pPr>
            <a:r>
              <a:rPr lang="ru-RU" altLang="ru-RU" sz="11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Руководитель проекта </a:t>
            </a:r>
            <a:endParaRPr lang="en-US" altLang="ru-RU" sz="1100" b="1" kern="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2" name="Rectangle 53"/>
          <p:cNvSpPr txBox="1">
            <a:spLocks noChangeArrowheads="1"/>
          </p:cNvSpPr>
          <p:nvPr/>
        </p:nvSpPr>
        <p:spPr bwMode="auto">
          <a:xfrm>
            <a:off x="2123728" y="5733256"/>
            <a:ext cx="1462088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err="1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ечихина</a:t>
            </a:r>
            <a:r>
              <a:rPr lang="ru-RU" altLang="ru-RU" sz="10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Ирина Александровна, воспитатель</a:t>
            </a:r>
            <a:endParaRPr lang="ru-RU" altLang="ru-RU" sz="1000" kern="0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4" name="Rectangle 53"/>
          <p:cNvSpPr txBox="1">
            <a:spLocks noChangeArrowheads="1"/>
          </p:cNvSpPr>
          <p:nvPr/>
        </p:nvSpPr>
        <p:spPr bwMode="auto">
          <a:xfrm>
            <a:off x="5148064" y="5733256"/>
            <a:ext cx="1462088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седина Юлия </a:t>
            </a:r>
            <a:r>
              <a:rPr lang="ru-RU" altLang="ru-RU" sz="1000" b="1" kern="0" dirty="0" err="1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затовна</a:t>
            </a:r>
            <a:r>
              <a:rPr lang="ru-RU" altLang="ru-RU" sz="10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адший </a:t>
            </a:r>
            <a:r>
              <a:rPr lang="ru-RU" altLang="ru-RU" sz="1000" b="1" kern="0" dirty="0" err="1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спитатаел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2</a:t>
            </a:fld>
            <a:endParaRPr lang="ru-RU" sz="1400" dirty="0"/>
          </a:p>
        </p:txBody>
      </p:sp>
      <p:pic>
        <p:nvPicPr>
          <p:cNvPr id="11265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07904" y="1196752"/>
            <a:ext cx="952265" cy="1156944"/>
          </a:xfrm>
          <a:prstGeom prst="rect">
            <a:avLst/>
          </a:prstGeom>
          <a:noFill/>
          <a:ln w="2857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88224" y="1124744"/>
            <a:ext cx="1080120" cy="1326826"/>
          </a:xfrm>
          <a:prstGeom prst="rect">
            <a:avLst/>
          </a:prstGeom>
          <a:noFill/>
          <a:ln w="2857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148064" y="3933056"/>
            <a:ext cx="1440160" cy="1723508"/>
          </a:xfrm>
          <a:prstGeom prst="rect">
            <a:avLst/>
          </a:prstGeom>
          <a:noFill/>
          <a:ln w="2857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339752" y="4005064"/>
            <a:ext cx="1368152" cy="1680646"/>
          </a:xfrm>
          <a:prstGeom prst="rect">
            <a:avLst/>
          </a:prstGeom>
          <a:noFill/>
          <a:ln w="2857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11269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39551" y="1340768"/>
            <a:ext cx="2113471" cy="1584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904369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/>
          <p:nvPr/>
        </p:nvSpPr>
        <p:spPr>
          <a:xfrm>
            <a:off x="4804941" y="1556469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6652623" y="1565276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4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3068680" y="1564482"/>
            <a:ext cx="503238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1073027" y="1628850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14344" name="Заголовок 1"/>
          <p:cNvSpPr>
            <a:spLocks noGrp="1"/>
          </p:cNvSpPr>
          <p:nvPr>
            <p:ph type="title"/>
          </p:nvPr>
        </p:nvSpPr>
        <p:spPr>
          <a:xfrm>
            <a:off x="0" y="836613"/>
            <a:ext cx="9144000" cy="720179"/>
          </a:xfrm>
        </p:spPr>
        <p:txBody>
          <a:bodyPr/>
          <a:lstStyle/>
          <a:p>
            <a:pPr eaLnBrk="1" hangingPunct="1">
              <a:tabLst>
                <a:tab pos="630238" algn="l"/>
              </a:tabLst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та текущего состояния процесса</a:t>
            </a:r>
            <a:br>
              <a:rPr lang="ru-RU" sz="16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подготовки детей к прогулке в разновозрастной группе»</a:t>
            </a: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133350" y="333375"/>
            <a:ext cx="8686800" cy="575345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1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 в предметную область</a:t>
            </a:r>
            <a:br>
              <a:rPr lang="ru-RU" sz="1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описание ситуации «как есть»)</a:t>
            </a:r>
            <a:br>
              <a:rPr lang="ru-RU" sz="1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18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Стрелка вправо 22"/>
          <p:cNvSpPr/>
          <p:nvPr/>
        </p:nvSpPr>
        <p:spPr>
          <a:xfrm>
            <a:off x="4367953" y="2562289"/>
            <a:ext cx="427041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6" name="Стрелка вправо 25"/>
          <p:cNvSpPr/>
          <p:nvPr/>
        </p:nvSpPr>
        <p:spPr>
          <a:xfrm>
            <a:off x="6300192" y="2533714"/>
            <a:ext cx="352431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9" name="TextBox 48"/>
          <p:cNvSpPr txBox="1"/>
          <p:nvPr/>
        </p:nvSpPr>
        <p:spPr>
          <a:xfrm>
            <a:off x="827584" y="6093296"/>
            <a:ext cx="371044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ПП (время протекания процесса) </a:t>
            </a:r>
            <a:r>
              <a:rPr lang="ru-RU" sz="1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4-34 мин.</a:t>
            </a:r>
            <a:endParaRPr lang="ru-RU" sz="12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715150"/>
            <a:ext cx="347662" cy="285750"/>
          </a:xfrm>
        </p:spPr>
        <p:txBody>
          <a:bodyPr/>
          <a:lstStyle/>
          <a:p>
            <a:pPr algn="ctr">
              <a:defRPr/>
            </a:pPr>
            <a:fld id="{F4FBE110-AE23-447E-BC5E-ACA3261C4DB1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3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773535" y="5080407"/>
            <a:ext cx="758807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342900">
              <a:buFontTx/>
              <a:buAutoNum type="arabicPeriod"/>
              <a:defRPr/>
            </a:pP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визуализации</a:t>
            </a:r>
          </a:p>
          <a:p>
            <a:pPr lvl="0" indent="-342900">
              <a:buAutoNum type="arabicPeriod" startAt="2"/>
              <a:defRPr/>
            </a:pP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ложности при одновременном одевании детей разных возрастов</a:t>
            </a:r>
          </a:p>
          <a:p>
            <a:pPr lvl="0">
              <a:defRPr/>
            </a:pP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     Возникновение конфликтных ситуаций</a:t>
            </a:r>
          </a:p>
          <a:p>
            <a:pPr indent="-342900">
              <a:buAutoNum type="arabicPeriod" startAt="4"/>
            </a:pP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сформированность  навыков  самообслуживания у младших дошкольников</a:t>
            </a:r>
          </a:p>
          <a:p>
            <a:pPr marL="228600" indent="-228600">
              <a:buAutoNum type="arabicPeriod" startAt="5"/>
            </a:pP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Излишнее ожидание </a:t>
            </a:r>
          </a:p>
        </p:txBody>
      </p:sp>
      <p:sp>
        <p:nvSpPr>
          <p:cNvPr id="17" name="Стрелка вправо 16"/>
          <p:cNvSpPr/>
          <p:nvPr/>
        </p:nvSpPr>
        <p:spPr>
          <a:xfrm>
            <a:off x="2627784" y="2564904"/>
            <a:ext cx="406391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827584" y="2181036"/>
            <a:ext cx="219100" cy="1319971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ВХОД</a:t>
            </a:r>
            <a:endParaRPr lang="ru-RU" b="1" dirty="0"/>
          </a:p>
        </p:txBody>
      </p:sp>
      <p:sp>
        <p:nvSpPr>
          <p:cNvPr id="53" name="Прямоугольник 52"/>
          <p:cNvSpPr/>
          <p:nvPr/>
        </p:nvSpPr>
        <p:spPr>
          <a:xfrm>
            <a:off x="4188718" y="3623566"/>
            <a:ext cx="288032" cy="1368152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ВЫХОД</a:t>
            </a:r>
            <a:endParaRPr lang="ru-RU" b="1" dirty="0"/>
          </a:p>
        </p:txBody>
      </p:sp>
      <p:graphicFrame>
        <p:nvGraphicFramePr>
          <p:cNvPr id="73" name="Таблица 7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3126861"/>
              </p:ext>
            </p:extLst>
          </p:nvPr>
        </p:nvGraphicFramePr>
        <p:xfrm>
          <a:off x="1110223" y="2020392"/>
          <a:ext cx="1589569" cy="1333091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589569"/>
              </a:tblGrid>
              <a:tr h="2862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5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оспитатель</a:t>
                      </a:r>
                      <a:endParaRPr lang="ru-RU" sz="950" b="1" dirty="0" smtClean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6344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kumimoji="0" lang="ru-RU" sz="9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ообщение воспитателя о</a:t>
                      </a:r>
                      <a:r>
                        <a:rPr kumimoji="0" lang="ru-RU" sz="9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kumimoji="0" lang="ru-RU" sz="9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едстоящей прогулке</a:t>
                      </a:r>
                      <a:endParaRPr kumimoji="0" lang="ru-RU" sz="900" b="1" kern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4123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5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-2 мин</a:t>
                      </a:r>
                      <a:endParaRPr lang="ru-RU" sz="95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9" name="Таблица 7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4577481"/>
              </p:ext>
            </p:extLst>
          </p:nvPr>
        </p:nvGraphicFramePr>
        <p:xfrm>
          <a:off x="4786821" y="1937718"/>
          <a:ext cx="1513371" cy="1310314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513371"/>
              </a:tblGrid>
              <a:tr h="346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оспитатель</a:t>
                      </a:r>
                    </a:p>
                    <a:p>
                      <a:pPr algn="ctr">
                        <a:defRPr/>
                      </a:pP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л. </a:t>
                      </a:r>
                      <a:r>
                        <a:rPr lang="ru-RU" sz="900" b="1" baseline="0" dirty="0" err="1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оспитателъ</a:t>
                      </a:r>
                      <a:endParaRPr lang="ru-RU" sz="900" b="1" baseline="0" dirty="0" smtClean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6435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kumimoji="0" lang="ru-RU" sz="9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девание детей  на прогулку  </a:t>
                      </a:r>
                      <a:endParaRPr kumimoji="0" lang="ru-RU" sz="900" b="1" kern="1200" baseline="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30101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-12</a:t>
                      </a: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2" name="Таблица 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227612"/>
              </p:ext>
            </p:extLst>
          </p:nvPr>
        </p:nvGraphicFramePr>
        <p:xfrm>
          <a:off x="1238312" y="3803748"/>
          <a:ext cx="1173448" cy="1211240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173448"/>
              </a:tblGrid>
              <a:tr h="2855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л. воспитатель</a:t>
                      </a:r>
                      <a:endParaRPr lang="ru-RU" sz="900" b="1" dirty="0" smtClean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6375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kumimoji="0" lang="ru-RU" sz="9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казание помощи при одевании оставшейся части детей</a:t>
                      </a:r>
                      <a:endParaRPr kumimoji="0" lang="ru-RU" sz="900" b="1" kern="1200" baseline="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2855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-5 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7278650" y="3198297"/>
            <a:ext cx="6446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prstClr val="white"/>
                </a:solidFill>
                <a:latin typeface="Calibri"/>
                <a:cs typeface="+mn-cs"/>
              </a:rPr>
              <a:t>ЫХО</a:t>
            </a:r>
            <a:endParaRPr lang="ru-RU" dirty="0"/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4967007"/>
              </p:ext>
            </p:extLst>
          </p:nvPr>
        </p:nvGraphicFramePr>
        <p:xfrm>
          <a:off x="6618696" y="1926036"/>
          <a:ext cx="1385218" cy="1368152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385218"/>
              </a:tblGrid>
              <a:tr h="3225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оспитатель</a:t>
                      </a:r>
                      <a:endParaRPr lang="ru-RU" sz="900" b="1" dirty="0" smtClean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723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kumimoji="0" lang="ru-RU" sz="9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Выход части одетых детей в тамбур</a:t>
                      </a:r>
                      <a:endParaRPr kumimoji="0" lang="ru-RU" sz="900" b="1" kern="1200" baseline="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3225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-7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25" name="Прямоугольник 24"/>
          <p:cNvSpPr/>
          <p:nvPr/>
        </p:nvSpPr>
        <p:spPr>
          <a:xfrm>
            <a:off x="1275139" y="3405583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</a:t>
            </a:r>
            <a:r>
              <a:rPr lang="ru-RU" sz="900" b="1" dirty="0" smtClean="0"/>
              <a:t>5</a:t>
            </a:r>
            <a:endParaRPr lang="ru-RU" sz="900" b="1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2995854" y="3443385"/>
            <a:ext cx="576064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</a:t>
            </a:r>
            <a:r>
              <a:rPr lang="ru-RU" sz="900" b="1" dirty="0" smtClean="0"/>
              <a:t>6</a:t>
            </a:r>
            <a:endParaRPr lang="ru-RU" sz="900" b="1" dirty="0"/>
          </a:p>
        </p:txBody>
      </p:sp>
      <p:graphicFrame>
        <p:nvGraphicFramePr>
          <p:cNvPr id="29" name="Таблица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0703473"/>
              </p:ext>
            </p:extLst>
          </p:nvPr>
        </p:nvGraphicFramePr>
        <p:xfrm>
          <a:off x="3010604" y="3803748"/>
          <a:ext cx="1152128" cy="1167124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152128"/>
              </a:tblGrid>
              <a:tr h="12930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оспитатель</a:t>
                      </a:r>
                      <a:endParaRPr lang="ru-RU" sz="900" b="1" dirty="0" smtClean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7099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kumimoji="0" lang="ru-RU" sz="9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 Выход детей на улицу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18012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-3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32" name="Стрелка вправо 31"/>
          <p:cNvSpPr/>
          <p:nvPr/>
        </p:nvSpPr>
        <p:spPr>
          <a:xfrm>
            <a:off x="8020849" y="2533714"/>
            <a:ext cx="427041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3" name="Стрелка вправо 32"/>
          <p:cNvSpPr/>
          <p:nvPr/>
        </p:nvSpPr>
        <p:spPr>
          <a:xfrm>
            <a:off x="2411760" y="4232374"/>
            <a:ext cx="576064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5" name="Стрелка вправо 34"/>
          <p:cNvSpPr/>
          <p:nvPr/>
        </p:nvSpPr>
        <p:spPr>
          <a:xfrm>
            <a:off x="859506" y="4232374"/>
            <a:ext cx="427041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aphicFrame>
        <p:nvGraphicFramePr>
          <p:cNvPr id="36" name="Таблица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0534329"/>
              </p:ext>
            </p:extLst>
          </p:nvPr>
        </p:nvGraphicFramePr>
        <p:xfrm>
          <a:off x="3068680" y="1979727"/>
          <a:ext cx="1424122" cy="1283156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424122"/>
              </a:tblGrid>
              <a:tr h="2585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л. воспитатель</a:t>
                      </a:r>
                      <a:endParaRPr lang="ru-RU" sz="900" b="1" dirty="0" smtClean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60549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kumimoji="0" lang="ru-RU" sz="9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Гигиенические процедуры перед выходом на прогулку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4190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-5</a:t>
                      </a: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38" name="Пятно 1 37"/>
          <p:cNvSpPr/>
          <p:nvPr/>
        </p:nvSpPr>
        <p:spPr>
          <a:xfrm>
            <a:off x="5936170" y="2952304"/>
            <a:ext cx="453285" cy="385214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2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39" name="Пятно 1 38"/>
          <p:cNvSpPr/>
          <p:nvPr/>
        </p:nvSpPr>
        <p:spPr>
          <a:xfrm>
            <a:off x="3841301" y="3127104"/>
            <a:ext cx="453285" cy="385214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1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99" name="Пятно 1 98"/>
          <p:cNvSpPr/>
          <p:nvPr/>
        </p:nvSpPr>
        <p:spPr>
          <a:xfrm>
            <a:off x="5288186" y="3144911"/>
            <a:ext cx="425734" cy="440853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4</a:t>
            </a:r>
            <a:endParaRPr lang="ru-RU" sz="1100" b="1" dirty="0">
              <a:solidFill>
                <a:schemeClr val="bg1"/>
              </a:solidFill>
            </a:endParaRP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4994" y="3049819"/>
            <a:ext cx="481013" cy="42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3920" y="3245081"/>
            <a:ext cx="444500" cy="46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4" name="Пятно 1 33"/>
          <p:cNvSpPr/>
          <p:nvPr/>
        </p:nvSpPr>
        <p:spPr>
          <a:xfrm>
            <a:off x="7607002" y="3028362"/>
            <a:ext cx="453285" cy="385214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5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Заголовок 1"/>
          <p:cNvSpPr>
            <a:spLocks noGrp="1"/>
          </p:cNvSpPr>
          <p:nvPr>
            <p:ph type="title"/>
          </p:nvPr>
        </p:nvSpPr>
        <p:spPr>
          <a:xfrm>
            <a:off x="179512" y="1124744"/>
            <a:ext cx="8686800" cy="550863"/>
          </a:xfrm>
        </p:spPr>
        <p:txBody>
          <a:bodyPr/>
          <a:lstStyle/>
          <a:p>
            <a:pPr eaLnBrk="1" hangingPunct="1"/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ирамида проблем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0B9B24B0-89E8-4502-86ED-BC2F7D391267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107950" y="404813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 в предметную область</a:t>
            </a:r>
            <a:b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описание ситуации «как есть»)</a:t>
            </a:r>
            <a:b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0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4" name="Схема 13"/>
          <p:cNvGraphicFramePr/>
          <p:nvPr>
            <p:extLst>
              <p:ext uri="{D42A27DB-BD31-4B8C-83A1-F6EECF244321}">
                <p14:modId xmlns:p14="http://schemas.microsoft.com/office/powerpoint/2010/main" val="1556654526"/>
              </p:ext>
            </p:extLst>
          </p:nvPr>
        </p:nvGraphicFramePr>
        <p:xfrm>
          <a:off x="214282" y="1428736"/>
          <a:ext cx="5328592" cy="47120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1" name="Пятно 1 10"/>
          <p:cNvSpPr/>
          <p:nvPr/>
        </p:nvSpPr>
        <p:spPr>
          <a:xfrm>
            <a:off x="1641902" y="5489436"/>
            <a:ext cx="481826" cy="56035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2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12" name="Пятно 1 11"/>
          <p:cNvSpPr/>
          <p:nvPr/>
        </p:nvSpPr>
        <p:spPr>
          <a:xfrm>
            <a:off x="4226593" y="5538653"/>
            <a:ext cx="449514" cy="461916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3929058" y="3929066"/>
            <a:ext cx="1435030" cy="357190"/>
          </a:xfrm>
          <a:prstGeom prst="roundRect">
            <a:avLst/>
          </a:prstGeom>
          <a:solidFill>
            <a:schemeClr val="bg2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выявлены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3357553" y="2500306"/>
            <a:ext cx="1502479" cy="35718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выявлены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580112" y="4623540"/>
            <a:ext cx="3456384" cy="156966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indent="-342900">
              <a:buFontTx/>
              <a:buAutoNum type="arabicPeriod"/>
              <a:defRPr/>
            </a:pPr>
            <a:r>
              <a:rPr lang="ru-RU" sz="1200" b="1" dirty="0">
                <a:solidFill>
                  <a:srgbClr val="1F497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визуализации</a:t>
            </a:r>
          </a:p>
          <a:p>
            <a:pPr lvl="0" indent="-342900">
              <a:buFontTx/>
              <a:buAutoNum type="arabicPeriod" startAt="2"/>
              <a:defRPr/>
            </a:pPr>
            <a:r>
              <a:rPr lang="ru-RU" sz="1200" b="1" dirty="0">
                <a:solidFill>
                  <a:srgbClr val="1F497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ложности </a:t>
            </a:r>
            <a:r>
              <a:rPr lang="ru-RU" sz="1200" b="1" dirty="0" smtClean="0">
                <a:solidFill>
                  <a:srgbClr val="1F497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 одновременном одевании </a:t>
            </a:r>
            <a:r>
              <a:rPr lang="ru-RU" sz="1200" b="1" dirty="0">
                <a:solidFill>
                  <a:srgbClr val="1F497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тей разных возрастов</a:t>
            </a:r>
          </a:p>
          <a:p>
            <a:pPr lvl="0">
              <a:defRPr/>
            </a:pPr>
            <a:r>
              <a:rPr lang="ru-RU" sz="1200" b="1" dirty="0">
                <a:solidFill>
                  <a:srgbClr val="1F497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     Возникновение конфликтных ситуаций</a:t>
            </a:r>
          </a:p>
          <a:p>
            <a:pPr lvl="0" indent="-342900">
              <a:buFontTx/>
              <a:buAutoNum type="arabicPeriod" startAt="4"/>
            </a:pPr>
            <a:r>
              <a:rPr lang="ru-RU" sz="1200" b="1" dirty="0">
                <a:solidFill>
                  <a:srgbClr val="1F497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сформированность  навыков  самообслуживания у младших дошкольников</a:t>
            </a:r>
          </a:p>
          <a:p>
            <a:pPr marL="228600" lvl="0" indent="-228600">
              <a:buFontTx/>
              <a:buAutoNum type="arabicPeriod" startAt="5"/>
            </a:pPr>
            <a:r>
              <a:rPr lang="ru-RU" sz="1200" b="1" dirty="0">
                <a:solidFill>
                  <a:srgbClr val="1F497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Излишнее ожидание </a:t>
            </a:r>
          </a:p>
          <a:p>
            <a:pPr marL="342900" indent="-342900">
              <a:buFontTx/>
              <a:buAutoNum type="arabicPeriod"/>
            </a:pPr>
            <a:endParaRPr lang="ru-RU" sz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ятно 1 16"/>
          <p:cNvSpPr/>
          <p:nvPr/>
        </p:nvSpPr>
        <p:spPr>
          <a:xfrm>
            <a:off x="3430514" y="5402243"/>
            <a:ext cx="481826" cy="56035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3" name="Пятно 1 12"/>
          <p:cNvSpPr/>
          <p:nvPr/>
        </p:nvSpPr>
        <p:spPr>
          <a:xfrm>
            <a:off x="2519192" y="5538653"/>
            <a:ext cx="449514" cy="461916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3</a:t>
            </a: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548" y="5466893"/>
            <a:ext cx="506413" cy="585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908720"/>
            <a:ext cx="7931224" cy="5217444"/>
          </a:xfrm>
        </p:spPr>
        <p:txBody>
          <a:bodyPr/>
          <a:lstStyle/>
          <a:p>
            <a:pPr marL="0" lvl="0" indent="0" algn="ctr" eaLnBrk="1" fontAlgn="auto" hangingPunct="1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B3CBC3-7457-4C0F-B76F-C1DD2B9B5627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16632"/>
            <a:ext cx="8496944" cy="7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2882999"/>
              </p:ext>
            </p:extLst>
          </p:nvPr>
        </p:nvGraphicFramePr>
        <p:xfrm>
          <a:off x="323528" y="896540"/>
          <a:ext cx="8640961" cy="48724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6224"/>
                <a:gridCol w="2416177"/>
                <a:gridCol w="2696391"/>
                <a:gridCol w="1512169"/>
              </a:tblGrid>
              <a:tr h="630195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вопричина</a:t>
                      </a:r>
                      <a:r>
                        <a:rPr lang="ru-RU" sz="14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 решен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кономия (мин., %)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598835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Отсутствие визуализации </a:t>
                      </a:r>
                      <a:endParaRPr lang="ru-RU" sz="1100" b="1" kern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ru-RU" sz="1100" b="1" kern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</a:t>
                      </a:r>
                      <a:r>
                        <a:rPr lang="ru-RU" sz="1100" b="1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алгоритмов в туалетной комнате</a:t>
                      </a:r>
                      <a:endParaRPr lang="ru-RU" sz="1100" b="1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азмещение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алгоритмов проведения гигиенических процедур в туалетной комнате</a:t>
                      </a:r>
                      <a:endParaRPr lang="ru-RU" sz="1100" b="1" kern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/>
                      <a:endParaRPr lang="ru-RU" sz="1100" dirty="0" smtClean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1100" dirty="0" smtClean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1100" dirty="0" smtClean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1100" dirty="0" smtClean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-40%</a:t>
                      </a:r>
                    </a:p>
                  </a:txBody>
                  <a:tcPr/>
                </a:tc>
              </a:tr>
              <a:tr h="422410">
                <a:tc v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ru-RU" sz="1100" b="1" kern="12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тсутствие алгоритмов одевания  в приемной комнат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азмещение алгоритмов одевания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(по сезонам) на детских шкафчиках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ru-RU" sz="1100" dirty="0" smtClean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338730">
                <a:tc vMerge="1">
                  <a:txBody>
                    <a:bodyPr/>
                    <a:lstStyle/>
                    <a:p>
                      <a:endParaRPr lang="ru-RU" sz="1100" b="1" kern="1200" dirty="0">
                        <a:solidFill>
                          <a:schemeClr val="tx2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тсутствие визуализации  «опасных» зон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изуализация безопасного пространства</a:t>
                      </a: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543919">
                <a:tc>
                  <a:txBody>
                    <a:bodyPr/>
                    <a:lstStyle/>
                    <a:p>
                      <a:pPr marL="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 Сложности  при одновременном одевания детей разных возрастов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Отсутствие навыков самообслуживания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у детей младшего дошкольного возраста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обровольное привлечение  старших дошкольников в помощь младшим во время одевания на прогулку </a:t>
                      </a:r>
                      <a:endParaRPr lang="ru-RU" sz="1100" b="1" kern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-40%</a:t>
                      </a:r>
                    </a:p>
                  </a:txBody>
                  <a:tcPr/>
                </a:tc>
              </a:tr>
              <a:tr h="390506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озникновение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конфликтных ситуаций</a:t>
                      </a:r>
                      <a:endParaRPr lang="ru-RU" sz="1100" b="1" kern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есогласованные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действия детей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7774" marR="57774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rPr>
                        <a:t>Создание безопасного и комфортного пространства для переодевания</a:t>
                      </a: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7774" marR="57774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-50%</a:t>
                      </a:r>
                    </a:p>
                  </a:txBody>
                  <a:tcPr/>
                </a:tc>
              </a:tr>
              <a:tr h="697332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.Несформированность навыков самостоятельного одевания у младших дошкольников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тсутствие навыков самостоятельного одевания у детей младшего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дошкольного возраста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7774" marR="57774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Установление очередности одевания детей по возрастам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7774" marR="57774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-40%</a:t>
                      </a:r>
                    </a:p>
                  </a:txBody>
                  <a:tcPr/>
                </a:tc>
              </a:tr>
              <a:tr h="926757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.Излишнее ожидани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Удерживание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 части одетых  детей в тамбуре 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(при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ожидании остальных детей)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7774" marR="57774" marT="0" marB="0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оэтапный выход одетых детей на улицу с педагогом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7774" marR="57774" marT="0" marB="0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-7 мин.</a:t>
                      </a:r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1567691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/>
          <p:nvPr/>
        </p:nvSpPr>
        <p:spPr>
          <a:xfrm>
            <a:off x="4804941" y="1556469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6652623" y="1565276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4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3068680" y="1564482"/>
            <a:ext cx="503238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1073027" y="1628850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14344" name="Заголовок 1"/>
          <p:cNvSpPr>
            <a:spLocks noGrp="1"/>
          </p:cNvSpPr>
          <p:nvPr>
            <p:ph type="title"/>
          </p:nvPr>
        </p:nvSpPr>
        <p:spPr>
          <a:xfrm>
            <a:off x="0" y="836613"/>
            <a:ext cx="9144000" cy="720179"/>
          </a:xfrm>
        </p:spPr>
        <p:txBody>
          <a:bodyPr/>
          <a:lstStyle/>
          <a:p>
            <a:pPr eaLnBrk="1" hangingPunct="1">
              <a:tabLst>
                <a:tab pos="630238" algn="l"/>
              </a:tabLst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та текущего состояния процесса</a:t>
            </a:r>
            <a:br>
              <a:rPr lang="ru-RU" sz="16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подготовки детей к прогулке в разновозрастной группе»</a:t>
            </a: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133350" y="333375"/>
            <a:ext cx="8686800" cy="575345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1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 в предметную область</a:t>
            </a:r>
            <a:br>
              <a:rPr lang="ru-RU" sz="1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описание ситуации «как БУДЕТ»)</a:t>
            </a:r>
            <a:br>
              <a:rPr lang="ru-RU" sz="1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18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Стрелка вправо 22"/>
          <p:cNvSpPr/>
          <p:nvPr/>
        </p:nvSpPr>
        <p:spPr>
          <a:xfrm>
            <a:off x="4367953" y="2562289"/>
            <a:ext cx="427041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6" name="Стрелка вправо 25"/>
          <p:cNvSpPr/>
          <p:nvPr/>
        </p:nvSpPr>
        <p:spPr>
          <a:xfrm>
            <a:off x="6300192" y="2533714"/>
            <a:ext cx="352431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9" name="TextBox 48"/>
          <p:cNvSpPr txBox="1"/>
          <p:nvPr/>
        </p:nvSpPr>
        <p:spPr>
          <a:xfrm>
            <a:off x="827584" y="6093296"/>
            <a:ext cx="371044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ПП (время протекания процесса) </a:t>
            </a:r>
            <a:r>
              <a:rPr lang="ru-RU" sz="1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9-27 мин.</a:t>
            </a:r>
            <a:endParaRPr lang="ru-RU" sz="12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715150"/>
            <a:ext cx="347662" cy="285750"/>
          </a:xfrm>
        </p:spPr>
        <p:txBody>
          <a:bodyPr/>
          <a:lstStyle/>
          <a:p>
            <a:pPr algn="ctr">
              <a:defRPr/>
            </a:pPr>
            <a:fld id="{F4FBE110-AE23-447E-BC5E-ACA3261C4DB1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6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2627784" y="2564904"/>
            <a:ext cx="406391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853927" y="1989212"/>
            <a:ext cx="219100" cy="1319971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ВХОД</a:t>
            </a:r>
            <a:endParaRPr lang="ru-RU" b="1" dirty="0"/>
          </a:p>
        </p:txBody>
      </p:sp>
      <p:sp>
        <p:nvSpPr>
          <p:cNvPr id="53" name="Прямоугольник 52"/>
          <p:cNvSpPr/>
          <p:nvPr/>
        </p:nvSpPr>
        <p:spPr>
          <a:xfrm>
            <a:off x="8028384" y="1880828"/>
            <a:ext cx="288032" cy="1368152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ВЫХОД</a:t>
            </a:r>
            <a:endParaRPr lang="ru-RU" b="1" dirty="0"/>
          </a:p>
        </p:txBody>
      </p:sp>
      <p:graphicFrame>
        <p:nvGraphicFramePr>
          <p:cNvPr id="73" name="Таблица 7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8023633"/>
              </p:ext>
            </p:extLst>
          </p:nvPr>
        </p:nvGraphicFramePr>
        <p:xfrm>
          <a:off x="1110223" y="2020392"/>
          <a:ext cx="1589569" cy="1333091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589569"/>
              </a:tblGrid>
              <a:tr h="2862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5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оспитатель</a:t>
                      </a:r>
                      <a:endParaRPr lang="ru-RU" sz="950" b="1" dirty="0" smtClean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6344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kumimoji="0" lang="ru-RU" sz="9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ообщение воспитателя о</a:t>
                      </a:r>
                      <a:r>
                        <a:rPr kumimoji="0" lang="ru-RU" sz="9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kumimoji="0" lang="ru-RU" sz="9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едстоящей прогулке</a:t>
                      </a:r>
                      <a:endParaRPr kumimoji="0" lang="ru-RU" sz="900" b="1" kern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4123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5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-2 мин</a:t>
                      </a:r>
                      <a:endParaRPr lang="ru-RU" sz="95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9" name="Таблица 7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2989846"/>
              </p:ext>
            </p:extLst>
          </p:nvPr>
        </p:nvGraphicFramePr>
        <p:xfrm>
          <a:off x="4786821" y="1937718"/>
          <a:ext cx="1513371" cy="1310314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513371"/>
              </a:tblGrid>
              <a:tr h="346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оспитатель</a:t>
                      </a:r>
                    </a:p>
                    <a:p>
                      <a:pPr algn="ctr">
                        <a:defRPr/>
                      </a:pP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л. воспитатель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6435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kumimoji="0" lang="ru-RU" sz="9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девание детей  на прогулку  по установленной очередности</a:t>
                      </a:r>
                      <a:endParaRPr kumimoji="0" lang="ru-RU" sz="900" b="1" kern="1200" baseline="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30101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-15</a:t>
                      </a: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2" name="Таблица 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4477400"/>
              </p:ext>
            </p:extLst>
          </p:nvPr>
        </p:nvGraphicFramePr>
        <p:xfrm>
          <a:off x="582638" y="2276872"/>
          <a:ext cx="216024" cy="1106090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216024"/>
              </a:tblGrid>
              <a:tr h="3195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endParaRPr lang="ru-RU" sz="900" b="1" dirty="0" smtClean="0">
                        <a:solidFill>
                          <a:srgbClr val="FA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4669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kumimoji="0" lang="ru-RU" sz="900" b="1" kern="1200" baseline="0" dirty="0">
                        <a:solidFill>
                          <a:srgbClr val="FA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3195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ru-RU" sz="900" b="1" dirty="0">
                        <a:solidFill>
                          <a:srgbClr val="FA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7278650" y="3198297"/>
            <a:ext cx="6446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prstClr val="white"/>
                </a:solidFill>
                <a:latin typeface="Calibri"/>
                <a:cs typeface="+mn-cs"/>
              </a:rPr>
              <a:t>ЫХО</a:t>
            </a:r>
            <a:endParaRPr lang="ru-RU" dirty="0"/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5930694"/>
              </p:ext>
            </p:extLst>
          </p:nvPr>
        </p:nvGraphicFramePr>
        <p:xfrm>
          <a:off x="6618696" y="1926036"/>
          <a:ext cx="1385218" cy="1368152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385218"/>
              </a:tblGrid>
              <a:tr h="3225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оспитатель</a:t>
                      </a:r>
                      <a:endParaRPr lang="ru-RU" sz="900" b="1" dirty="0" smtClean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723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kumimoji="0" lang="ru-RU" sz="9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Поэтапный выход детей на  улицу</a:t>
                      </a:r>
                      <a:endParaRPr kumimoji="0" lang="ru-RU" sz="900" b="1" kern="1200" baseline="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3225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-5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9" name="Таблица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55229"/>
              </p:ext>
            </p:extLst>
          </p:nvPr>
        </p:nvGraphicFramePr>
        <p:xfrm>
          <a:off x="8316416" y="2016264"/>
          <a:ext cx="208280" cy="1097280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208280"/>
              </a:tblGrid>
              <a:tr h="125863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125863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125863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6" name="Таблица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5151068"/>
              </p:ext>
            </p:extLst>
          </p:nvPr>
        </p:nvGraphicFramePr>
        <p:xfrm>
          <a:off x="3068680" y="1979727"/>
          <a:ext cx="1424122" cy="1283156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424122"/>
              </a:tblGrid>
              <a:tr h="2585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л. воспитатель</a:t>
                      </a:r>
                      <a:endParaRPr lang="ru-RU" sz="900" b="1" dirty="0" smtClean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60549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kumimoji="0" lang="ru-RU" sz="9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Гигиенические процедуры перед выходом на прогулку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4190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-5</a:t>
                      </a: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698446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92026" y="188640"/>
            <a:ext cx="8648700" cy="439738"/>
          </a:xfrm>
        </p:spPr>
        <p:txBody>
          <a:bodyPr>
            <a:noAutofit/>
          </a:bodyPr>
          <a:lstStyle/>
          <a:p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326847" y="1030486"/>
            <a:ext cx="8636000" cy="5125928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5" name="TextBox 14">
            <a:extLst>
              <a:ext uri="{FF2B5EF4-FFF2-40B4-BE49-F238E27FC236}"/>
            </a:extLst>
          </p:cNvPr>
          <p:cNvSpPr txBox="1"/>
          <p:nvPr/>
        </p:nvSpPr>
        <p:spPr>
          <a:xfrm>
            <a:off x="491914" y="1040239"/>
            <a:ext cx="1543419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акторы успеха</a:t>
            </a:r>
          </a:p>
        </p:txBody>
      </p:sp>
      <p:sp>
        <p:nvSpPr>
          <p:cNvPr id="21" name="TextBox 20">
            <a:extLst>
              <a:ext uri="{FF2B5EF4-FFF2-40B4-BE49-F238E27FC236}"/>
            </a:extLst>
          </p:cNvPr>
          <p:cNvSpPr txBox="1"/>
          <p:nvPr/>
        </p:nvSpPr>
        <p:spPr>
          <a:xfrm>
            <a:off x="493639" y="3258730"/>
            <a:ext cx="2062138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транили</a:t>
            </a:r>
            <a:endParaRPr lang="ru-RU" sz="12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еменные потери при подготовке к прогулке</a:t>
            </a:r>
          </a:p>
          <a:p>
            <a:pPr lvl="0">
              <a:defRPr/>
            </a:pPr>
            <a:endParaRPr lang="ru-RU" sz="120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defRPr/>
            </a:pPr>
            <a:r>
              <a:rPr lang="ru-RU" sz="120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величили время прогулки</a:t>
            </a:r>
            <a:endParaRPr lang="ru-RU" sz="1200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endParaRPr lang="ru-RU" sz="1200" dirty="0" smtClean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ru-RU" sz="1200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ru-RU" sz="1200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TextBox 22">
            <a:extLst>
              <a:ext uri="{FF2B5EF4-FFF2-40B4-BE49-F238E27FC236}"/>
            </a:extLst>
          </p:cNvPr>
          <p:cNvSpPr txBox="1"/>
          <p:nvPr/>
        </p:nvSpPr>
        <p:spPr>
          <a:xfrm>
            <a:off x="3129037" y="3284984"/>
            <a:ext cx="237906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простили</a:t>
            </a:r>
            <a:endParaRPr lang="ru-RU" sz="12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цесс подготовки и выхода на прогулку</a:t>
            </a:r>
            <a:endParaRPr lang="ru-RU" sz="1200" dirty="0" smtClean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200" dirty="0">
              <a:solidFill>
                <a:schemeClr val="accent2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4" name="TextBox 23">
            <a:extLst>
              <a:ext uri="{FF2B5EF4-FFF2-40B4-BE49-F238E27FC236}"/>
            </a:extLst>
          </p:cNvPr>
          <p:cNvSpPr txBox="1"/>
          <p:nvPr/>
        </p:nvSpPr>
        <p:spPr>
          <a:xfrm>
            <a:off x="6255279" y="3284984"/>
            <a:ext cx="2617184" cy="10433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здали  </a:t>
            </a:r>
          </a:p>
          <a:p>
            <a:pPr lvl="0">
              <a:defRPr/>
            </a:pPr>
            <a:r>
              <a:rPr lang="ru-RU" sz="12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изуализацию </a:t>
            </a:r>
            <a:r>
              <a:rPr lang="ru-RU" sz="120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зопасного </a:t>
            </a:r>
            <a:r>
              <a:rPr lang="ru-RU" sz="12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странства </a:t>
            </a:r>
            <a:r>
              <a:rPr lang="ru-RU" sz="120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О</a:t>
            </a:r>
            <a:endParaRPr lang="ru-RU" sz="1200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lnSpc>
                <a:spcPct val="115000"/>
              </a:lnSpc>
              <a:defRPr/>
            </a:pPr>
            <a:endParaRPr lang="ru-RU" sz="120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7</a:t>
            </a:fld>
            <a:endParaRPr lang="ru-RU" sz="1400" dirty="0"/>
          </a:p>
        </p:txBody>
      </p:sp>
      <p:sp>
        <p:nvSpPr>
          <p:cNvPr id="3" name="Плюс 2"/>
          <p:cNvSpPr/>
          <p:nvPr/>
        </p:nvSpPr>
        <p:spPr>
          <a:xfrm>
            <a:off x="2809999" y="1844824"/>
            <a:ext cx="435372" cy="432048"/>
          </a:xfrm>
          <a:prstGeom prst="mathPlus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люс 19"/>
          <p:cNvSpPr/>
          <p:nvPr/>
        </p:nvSpPr>
        <p:spPr>
          <a:xfrm>
            <a:off x="5580112" y="1844824"/>
            <a:ext cx="435372" cy="432048"/>
          </a:xfrm>
          <a:prstGeom prst="mathPlus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280" name="Picture 13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372200" y="1340768"/>
            <a:ext cx="1440160" cy="1785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281" name="Picture 137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347864" y="1484784"/>
            <a:ext cx="2149872" cy="18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282" name="Picture 138"/>
          <p:cNvPicPr>
            <a:picLocks noChangeAspect="1" noChangeArrowheads="1"/>
          </p:cNvPicPr>
          <p:nvPr/>
        </p:nvPicPr>
        <p:blipFill>
          <a:blip r:embed="rId9" cstate="print"/>
          <a:srcRect r="-157"/>
          <a:stretch>
            <a:fillRect/>
          </a:stretch>
        </p:blipFill>
        <p:spPr bwMode="auto">
          <a:xfrm>
            <a:off x="395536" y="1484784"/>
            <a:ext cx="2336316" cy="1749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32472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>
            <a:extLst>
              <a:ext uri="{FF2B5EF4-FFF2-40B4-BE49-F238E27FC236}"/>
            </a:extLst>
          </p:cNvPr>
          <p:cNvSpPr/>
          <p:nvPr/>
        </p:nvSpPr>
        <p:spPr>
          <a:xfrm>
            <a:off x="244475" y="3971975"/>
            <a:ext cx="8636000" cy="239022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lvl="0">
              <a:defRPr/>
            </a:pPr>
            <a:r>
              <a:rPr lang="ru-RU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1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404664"/>
            <a:ext cx="8648700" cy="504056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96863" y="1251826"/>
            <a:ext cx="8636000" cy="244919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n>
                <a:solidFill>
                  <a:srgbClr val="0070C0"/>
                </a:solidFill>
              </a:ln>
              <a:solidFill>
                <a:srgbClr val="0070C0"/>
              </a:solidFill>
            </a:endParaRPr>
          </a:p>
        </p:txBody>
      </p:sp>
      <p:sp>
        <p:nvSpPr>
          <p:cNvPr id="14" name="TextBox 13">
            <a:extLst>
              <a:ext uri="{FF2B5EF4-FFF2-40B4-BE49-F238E27FC236}"/>
            </a:extLst>
          </p:cNvPr>
          <p:cNvSpPr txBox="1"/>
          <p:nvPr/>
        </p:nvSpPr>
        <p:spPr>
          <a:xfrm>
            <a:off x="467544" y="1289147"/>
            <a:ext cx="1882517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5042878" y="1677747"/>
            <a:ext cx="1557854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мещение алгоритмов проведения гигиенических процедур и переодевания </a:t>
            </a:r>
            <a:endParaRPr lang="ru-RU" sz="12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2740" name="TextBox 18"/>
          <p:cNvSpPr txBox="1">
            <a:spLocks noChangeArrowheads="1"/>
          </p:cNvSpPr>
          <p:nvPr/>
        </p:nvSpPr>
        <p:spPr bwMode="auto">
          <a:xfrm>
            <a:off x="2680641" y="1531459"/>
            <a:ext cx="10398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</a:p>
        </p:txBody>
      </p:sp>
      <p:sp>
        <p:nvSpPr>
          <p:cNvPr id="72741" name="TextBox 19"/>
          <p:cNvSpPr txBox="1">
            <a:spLocks noChangeArrowheads="1"/>
          </p:cNvSpPr>
          <p:nvPr/>
        </p:nvSpPr>
        <p:spPr bwMode="auto">
          <a:xfrm>
            <a:off x="5195451" y="1412776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8</a:t>
            </a:fld>
            <a:endParaRPr lang="ru-RU" sz="1400"/>
          </a:p>
        </p:txBody>
      </p:sp>
      <p:sp>
        <p:nvSpPr>
          <p:cNvPr id="23" name="TextBox 24"/>
          <p:cNvSpPr txBox="1">
            <a:spLocks noChangeArrowheads="1"/>
          </p:cNvSpPr>
          <p:nvPr/>
        </p:nvSpPr>
        <p:spPr bwMode="auto">
          <a:xfrm flipH="1">
            <a:off x="2051719" y="4509120"/>
            <a:ext cx="1690811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lvl="0" indent="-342900">
              <a:defRPr/>
            </a:pPr>
            <a:r>
              <a:rPr lang="ru-RU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ложности  при одновременном одевания детей разных возрастов</a:t>
            </a:r>
          </a:p>
        </p:txBody>
      </p:sp>
      <p:sp>
        <p:nvSpPr>
          <p:cNvPr id="26" name="TextBox 24"/>
          <p:cNvSpPr txBox="1">
            <a:spLocks noChangeArrowheads="1"/>
          </p:cNvSpPr>
          <p:nvPr/>
        </p:nvSpPr>
        <p:spPr bwMode="auto">
          <a:xfrm>
            <a:off x="2196622" y="1816716"/>
            <a:ext cx="2196473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алгоритмов в туалетной </a:t>
            </a:r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приемной комнате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Стрелка вправо 2"/>
          <p:cNvSpPr/>
          <p:nvPr/>
        </p:nvSpPr>
        <p:spPr>
          <a:xfrm>
            <a:off x="4319502" y="2156753"/>
            <a:ext cx="590722" cy="24231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310" name="Picture 14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876256" y="1447428"/>
            <a:ext cx="1558398" cy="2077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extBox 18"/>
          <p:cNvSpPr txBox="1">
            <a:spLocks noChangeArrowheads="1"/>
          </p:cNvSpPr>
          <p:nvPr/>
        </p:nvSpPr>
        <p:spPr bwMode="auto">
          <a:xfrm>
            <a:off x="2680641" y="4149080"/>
            <a:ext cx="10398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</a:p>
        </p:txBody>
      </p:sp>
      <p:sp>
        <p:nvSpPr>
          <p:cNvPr id="25" name="Стрелка вправо 24"/>
          <p:cNvSpPr/>
          <p:nvPr/>
        </p:nvSpPr>
        <p:spPr>
          <a:xfrm>
            <a:off x="4452156" y="5045931"/>
            <a:ext cx="590722" cy="24231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18"/>
          <p:cNvSpPr txBox="1">
            <a:spLocks noChangeArrowheads="1"/>
          </p:cNvSpPr>
          <p:nvPr/>
        </p:nvSpPr>
        <p:spPr bwMode="auto">
          <a:xfrm>
            <a:off x="5301898" y="4229075"/>
            <a:ext cx="10398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  <a:endParaRPr lang="ru-RU" sz="1200" b="1" dirty="0">
              <a:solidFill>
                <a:schemeClr val="tx2">
                  <a:lumMod val="60000"/>
                  <a:lumOff val="4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TextBox 24"/>
          <p:cNvSpPr txBox="1">
            <a:spLocks noChangeArrowheads="1"/>
          </p:cNvSpPr>
          <p:nvPr/>
        </p:nvSpPr>
        <p:spPr bwMode="auto">
          <a:xfrm flipH="1">
            <a:off x="5258117" y="4661210"/>
            <a:ext cx="1690811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lvl="0" indent="-342900">
              <a:defRPr/>
            </a:pPr>
            <a:r>
              <a:rPr lang="ru-RU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бровольное  привлечение старших дошкольников  в помощь младшим во время одевания на прогулку</a:t>
            </a:r>
            <a:endParaRPr lang="ru-RU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9" name="Рисунок 18" descr="3d вручает красный цвет человека Hes сердца Иллюстрация штока ...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3869" y="4429497"/>
            <a:ext cx="1802765" cy="1327150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Рисунок 20" descr="стойка толпы 3d людская красная Иллюстрация штока - иллюстрации ...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863" y="4425305"/>
            <a:ext cx="1610841" cy="1355336"/>
          </a:xfrm>
          <a:prstGeom prst="rect">
            <a:avLst/>
          </a:prstGeom>
          <a:noFill/>
          <a:ln>
            <a:noFill/>
          </a:ln>
        </p:spPr>
      </p:pic>
      <p:pic>
        <p:nvPicPr>
          <p:cNvPr id="24" name="Рисунок 23" descr="Männchen 3D Model Freigestellt - Kostenloses Bild auf Pixabay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929" y="1689001"/>
            <a:ext cx="1621790" cy="162179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63568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>
            <a:extLst>
              <a:ext uri="{FF2B5EF4-FFF2-40B4-BE49-F238E27FC236}"/>
            </a:extLst>
          </p:cNvPr>
          <p:cNvSpPr/>
          <p:nvPr/>
        </p:nvSpPr>
        <p:spPr>
          <a:xfrm>
            <a:off x="244475" y="3971975"/>
            <a:ext cx="8636000" cy="239022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indent="-342900"/>
            <a:endParaRPr lang="ru-RU" sz="1200" dirty="0" smtClean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620688"/>
            <a:ext cx="8648700" cy="439738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44475" y="1210195"/>
            <a:ext cx="8636000" cy="244919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lvl="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DA2BF"/>
              </a:buClr>
              <a:buSzPct val="70000"/>
            </a:pPr>
            <a:endParaRPr lang="ru-RU" altLang="ru-RU" sz="1000" b="1" dirty="0">
              <a:solidFill>
                <a:prstClr val="black"/>
              </a:solidFill>
              <a:latin typeface="Franklin Gothic Book"/>
            </a:endParaRPr>
          </a:p>
        </p:txBody>
      </p:sp>
      <p:sp>
        <p:nvSpPr>
          <p:cNvPr id="14" name="TextBox 13">
            <a:extLst>
              <a:ext uri="{FF2B5EF4-FFF2-40B4-BE49-F238E27FC236}"/>
            </a:extLst>
          </p:cNvPr>
          <p:cNvSpPr txBox="1"/>
          <p:nvPr/>
        </p:nvSpPr>
        <p:spPr>
          <a:xfrm>
            <a:off x="296863" y="1249047"/>
            <a:ext cx="1882517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5078702" y="1694259"/>
            <a:ext cx="1525372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оздание </a:t>
            </a:r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безопасного и комфортного пространства для переодевания</a:t>
            </a:r>
          </a:p>
          <a:p>
            <a:pPr lvl="0"/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dirty="0" smtClean="0">
                <a:solidFill>
                  <a:srgbClr val="002060"/>
                </a:solidFill>
              </a:rPr>
              <a:t> </a:t>
            </a: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72740" name="TextBox 18"/>
          <p:cNvSpPr txBox="1">
            <a:spLocks noChangeArrowheads="1"/>
          </p:cNvSpPr>
          <p:nvPr/>
        </p:nvSpPr>
        <p:spPr bwMode="auto">
          <a:xfrm>
            <a:off x="2702719" y="1539636"/>
            <a:ext cx="10398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  <a:endParaRPr lang="ru-RU" sz="12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2741" name="TextBox 19"/>
          <p:cNvSpPr txBox="1">
            <a:spLocks noChangeArrowheads="1"/>
          </p:cNvSpPr>
          <p:nvPr/>
        </p:nvSpPr>
        <p:spPr bwMode="auto">
          <a:xfrm>
            <a:off x="5220072" y="1418909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</a:p>
        </p:txBody>
      </p:sp>
      <p:sp>
        <p:nvSpPr>
          <p:cNvPr id="72743" name="TextBox 24"/>
          <p:cNvSpPr txBox="1">
            <a:spLocks noChangeArrowheads="1"/>
          </p:cNvSpPr>
          <p:nvPr/>
        </p:nvSpPr>
        <p:spPr bwMode="auto">
          <a:xfrm>
            <a:off x="2123728" y="4237563"/>
            <a:ext cx="161880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</a:p>
        </p:txBody>
      </p:sp>
      <p:sp>
        <p:nvSpPr>
          <p:cNvPr id="72748" name="TextBox 29"/>
          <p:cNvSpPr txBox="1">
            <a:spLocks noChangeArrowheads="1"/>
          </p:cNvSpPr>
          <p:nvPr/>
        </p:nvSpPr>
        <p:spPr bwMode="auto">
          <a:xfrm>
            <a:off x="5436096" y="4237563"/>
            <a:ext cx="96550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9</a:t>
            </a:fld>
            <a:endParaRPr lang="ru-RU" sz="1400"/>
          </a:p>
        </p:txBody>
      </p:sp>
      <p:sp>
        <p:nvSpPr>
          <p:cNvPr id="23" name="TextBox 24"/>
          <p:cNvSpPr txBox="1">
            <a:spLocks noChangeArrowheads="1"/>
          </p:cNvSpPr>
          <p:nvPr/>
        </p:nvSpPr>
        <p:spPr bwMode="auto">
          <a:xfrm>
            <a:off x="2195736" y="4653136"/>
            <a:ext cx="2088232" cy="10556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lvl="0">
              <a:lnSpc>
                <a:spcPct val="115000"/>
              </a:lnSpc>
              <a:defRPr/>
            </a:pPr>
            <a:r>
              <a:rPr lang="ru-RU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держивание  </a:t>
            </a:r>
            <a:r>
              <a:rPr lang="ru-RU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асти одетых  детей в тамбуре  </a:t>
            </a:r>
            <a:r>
              <a:rPr lang="ru-RU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вынужденное ожидание </a:t>
            </a:r>
            <a:r>
              <a:rPr lang="ru-RU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тальных детей)</a:t>
            </a:r>
          </a:p>
          <a:p>
            <a:pPr indent="-342900"/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TextBox 17"/>
          <p:cNvSpPr txBox="1">
            <a:spLocks noChangeArrowheads="1"/>
          </p:cNvSpPr>
          <p:nvPr/>
        </p:nvSpPr>
        <p:spPr bwMode="auto">
          <a:xfrm>
            <a:off x="5076056" y="4509120"/>
            <a:ext cx="2160240" cy="815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indent="-342900"/>
            <a:r>
              <a:rPr lang="ru-RU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этапный </a:t>
            </a:r>
            <a:r>
              <a:rPr lang="ru-RU" sz="11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ход одетых детей на улицу с педагогом</a:t>
            </a:r>
          </a:p>
          <a:p>
            <a:pPr indent="-342900"/>
            <a:endParaRPr lang="ru-RU" sz="12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-342900"/>
            <a:endParaRPr lang="ru-RU" sz="12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TextBox 24"/>
          <p:cNvSpPr txBox="1">
            <a:spLocks noChangeArrowheads="1"/>
          </p:cNvSpPr>
          <p:nvPr/>
        </p:nvSpPr>
        <p:spPr bwMode="auto">
          <a:xfrm>
            <a:off x="2542835" y="1816716"/>
            <a:ext cx="1850260" cy="800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lvl="0"/>
            <a:r>
              <a:rPr lang="ru-RU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зникновение </a:t>
            </a:r>
            <a:r>
              <a:rPr lang="ru-RU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фликтных </a:t>
            </a:r>
            <a:r>
              <a:rPr lang="ru-RU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итуаций между  </a:t>
            </a:r>
            <a:r>
              <a:rPr lang="ru-RU" sz="1200" b="1" dirty="0" smtClean="0">
                <a:solidFill>
                  <a:schemeClr val="dk1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детьми  при сборе на прогулку</a:t>
            </a:r>
            <a:endParaRPr lang="ru-RU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263" name="Picture 7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3095" y="1989623"/>
            <a:ext cx="6159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264" name="Picture 7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2752" y="4820830"/>
            <a:ext cx="6159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14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598133" y="1418909"/>
            <a:ext cx="1080120" cy="1285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icture 14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564288" y="1989623"/>
            <a:ext cx="1224136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" name="Рисунок 29" descr="спорить человек 2 иллюстрация штока. иллюстрации насчитывающей ...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851" y="1695134"/>
            <a:ext cx="1526540" cy="16319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1" name="Рисунок 30" descr="3d与红色领导人的企业队成功配合库存图片. 图片包括有刺激, 员工, 社区 ...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73" y="4514562"/>
            <a:ext cx="1880607" cy="1572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32" name="Рисунок 31" descr="Руки символизируют контакт влюбленности предложение значка секса Я ...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6296" y="4200322"/>
            <a:ext cx="1457763" cy="1103421"/>
          </a:xfrm>
          <a:prstGeom prst="rect">
            <a:avLst/>
          </a:prstGeom>
          <a:noFill/>
          <a:ln>
            <a:noFill/>
          </a:ln>
        </p:spPr>
      </p:pic>
      <p:pic>
        <p:nvPicPr>
          <p:cNvPr id="29" name="Рисунок 28" descr="3d与红色领导人的企业队成功配合库存图片. 图片包括有刺激, 员工, 社区 ...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308" y="4538280"/>
            <a:ext cx="1880607" cy="157289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82332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814</TotalTime>
  <Words>817</Words>
  <Application>Microsoft Office PowerPoint</Application>
  <PresentationFormat>Экран (4:3)</PresentationFormat>
  <Paragraphs>246</Paragraphs>
  <Slides>11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5" baseType="lpstr">
      <vt:lpstr>Тема Office</vt:lpstr>
      <vt:lpstr>1_Тема Office</vt:lpstr>
      <vt:lpstr>2_Тема Office</vt:lpstr>
      <vt:lpstr>think-cell Slide</vt:lpstr>
      <vt:lpstr>Паспорт проекта   «Оптимизация процесса подготовки детей к прогулке в разновозрастной группе» </vt:lpstr>
      <vt:lpstr>Команда проекта </vt:lpstr>
      <vt:lpstr>Карта текущего состояния процесса «Оптимизация процесса подготовки детей к прогулке в разновозрастной группе»</vt:lpstr>
      <vt:lpstr>Пирамида проблем</vt:lpstr>
      <vt:lpstr>Презентация PowerPoint</vt:lpstr>
      <vt:lpstr>Карта текущего состояния процесса «Оптимизация процесса подготовки детей к прогулке в разновозрастной группе»</vt:lpstr>
      <vt:lpstr>Достигнутые результаты (было и стало) </vt:lpstr>
      <vt:lpstr>Достигнутые результаты (было и стало) </vt:lpstr>
      <vt:lpstr>Достигнутые результаты (было и стало) </vt:lpstr>
      <vt:lpstr>Презентация PowerPoint</vt:lpstr>
      <vt:lpstr>Достигнутые результаты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elena</cp:lastModifiedBy>
  <cp:revision>234</cp:revision>
  <cp:lastPrinted>2019-10-25T10:22:43Z</cp:lastPrinted>
  <dcterms:created xsi:type="dcterms:W3CDTF">2018-08-20T14:01:12Z</dcterms:created>
  <dcterms:modified xsi:type="dcterms:W3CDTF">2020-06-25T20:45:40Z</dcterms:modified>
</cp:coreProperties>
</file>